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6" r:id="rId1"/>
  </p:sldMasterIdLst>
  <p:notesMasterIdLst>
    <p:notesMasterId r:id="rId26"/>
  </p:notesMasterIdLst>
  <p:handoutMasterIdLst>
    <p:handoutMasterId r:id="rId27"/>
  </p:handoutMasterIdLst>
  <p:sldIdLst>
    <p:sldId id="256" r:id="rId2"/>
    <p:sldId id="291" r:id="rId3"/>
    <p:sldId id="316" r:id="rId4"/>
    <p:sldId id="292" r:id="rId5"/>
    <p:sldId id="314" r:id="rId6"/>
    <p:sldId id="313" r:id="rId7"/>
    <p:sldId id="294" r:id="rId8"/>
    <p:sldId id="296" r:id="rId9"/>
    <p:sldId id="320" r:id="rId10"/>
    <p:sldId id="317" r:id="rId11"/>
    <p:sldId id="297" r:id="rId12"/>
    <p:sldId id="298" r:id="rId13"/>
    <p:sldId id="300" r:id="rId14"/>
    <p:sldId id="301" r:id="rId15"/>
    <p:sldId id="303" r:id="rId16"/>
    <p:sldId id="308" r:id="rId17"/>
    <p:sldId id="305" r:id="rId18"/>
    <p:sldId id="299" r:id="rId19"/>
    <p:sldId id="309" r:id="rId20"/>
    <p:sldId id="318" r:id="rId21"/>
    <p:sldId id="319" r:id="rId22"/>
    <p:sldId id="310" r:id="rId23"/>
    <p:sldId id="311" r:id="rId24"/>
    <p:sldId id="312" r:id="rId2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1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609">
          <p15:clr>
            <a:srgbClr val="A4A3A4"/>
          </p15:clr>
        </p15:guide>
        <p15:guide id="4" pos="35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th, Viral" initials="SV" lastIdx="7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C60019"/>
    <a:srgbClr val="C62722"/>
    <a:srgbClr val="FF2722"/>
    <a:srgbClr val="FF322B"/>
    <a:srgbClr val="FF39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51" autoAdjust="0"/>
    <p:restoredTop sz="94659"/>
  </p:normalViewPr>
  <p:slideViewPr>
    <p:cSldViewPr snapToGrid="0" snapToObjects="1">
      <p:cViewPr varScale="1">
        <p:scale>
          <a:sx n="113" d="100"/>
          <a:sy n="113" d="100"/>
        </p:scale>
        <p:origin x="1068" y="90"/>
      </p:cViewPr>
      <p:guideLst>
        <p:guide orient="horz" pos="741"/>
        <p:guide pos="3840"/>
        <p:guide orient="horz" pos="609"/>
        <p:guide pos="3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A4754-911F-AC41-A824-91DA1B8FA50B}" type="datetimeFigureOut">
              <a:rPr lang="en-US" smtClean="0"/>
              <a:t>3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9FCDCD-E9B1-454F-9FB4-9225198F3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3940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0F9559-3A8F-9C4B-A8FD-B97B398BF768}" type="datetimeFigureOut">
              <a:rPr lang="en-US" smtClean="0"/>
              <a:t>3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BBB689-3E0F-4241-AE49-BB02816D0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2626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BB689-3E0F-4241-AE49-BB02816D09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744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BB689-3E0F-4241-AE49-BB02816D091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147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mething about</a:t>
            </a:r>
            <a:r>
              <a:rPr lang="en-US" baseline="0" dirty="0"/>
              <a:t> a disclaimer for UAE residency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BB689-3E0F-4241-AE49-BB02816D09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2503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mething about</a:t>
            </a:r>
            <a:r>
              <a:rPr lang="en-US" baseline="0" dirty="0"/>
              <a:t> a disclaimer for UAE residency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BB689-3E0F-4241-AE49-BB02816D09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733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BBB689-3E0F-4241-AE49-BB02816D09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099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file://localhost/Users/ldorion/Desktop/PPT/Assets/metlife_eng_tagline_cmyk.jpg" TargetMode="Externa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3012" y="2632613"/>
            <a:ext cx="8146141" cy="58066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540160" y="547175"/>
            <a:ext cx="2200588" cy="52013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540160" y="547175"/>
            <a:ext cx="2200588" cy="52013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4740105"/>
            <a:ext cx="5945444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5945443" y="4740105"/>
            <a:ext cx="91808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6863530" y="4740105"/>
            <a:ext cx="1852908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8716437" y="4740105"/>
            <a:ext cx="427562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3013" y="3370548"/>
            <a:ext cx="4736688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483013" y="3746501"/>
            <a:ext cx="4736688" cy="298450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483012" y="4108444"/>
            <a:ext cx="4736688" cy="292106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3" name="metlife_eng_tagline_cmyk.jpg" descr="/Users/ldorion/Desktop/PPT/Assets/metlife_eng_tagline_cmyk.jpg"/>
          <p:cNvPicPr>
            <a:picLocks noChangeAspect="1"/>
          </p:cNvPicPr>
          <p:nvPr userDrawn="1"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102" y="716794"/>
            <a:ext cx="2006600" cy="36512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267313" y="1482922"/>
            <a:ext cx="8581720" cy="321075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69156" y="154858"/>
            <a:ext cx="6944443" cy="852676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0616" y="1019808"/>
            <a:ext cx="6948752" cy="359300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156" y="154858"/>
            <a:ext cx="6944443" cy="852676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0616" y="1019808"/>
            <a:ext cx="6948752" cy="359300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7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56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78341" y="774006"/>
            <a:ext cx="1369427" cy="302168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1934190" y="774006"/>
            <a:ext cx="1372633" cy="302168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5268009" y="774006"/>
            <a:ext cx="1356924" cy="302168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6911356" y="774006"/>
            <a:ext cx="1372633" cy="302168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275135" y="1076174"/>
            <a:ext cx="1372633" cy="457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1934190" y="1076174"/>
            <a:ext cx="1372633" cy="457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3593245" y="1075388"/>
            <a:ext cx="1372633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5252300" y="1076174"/>
            <a:ext cx="1372633" cy="457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6911356" y="1076174"/>
            <a:ext cx="1372633" cy="457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593245" y="774006"/>
            <a:ext cx="1372633" cy="302168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267313" y="1272212"/>
            <a:ext cx="8581720" cy="321075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559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3219042" y="765539"/>
            <a:ext cx="1394596" cy="310635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56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269875" y="774006"/>
            <a:ext cx="1392034" cy="302168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1743177" y="774006"/>
            <a:ext cx="1394596" cy="302168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213713" y="774006"/>
            <a:ext cx="1394596" cy="302168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694907" y="774006"/>
            <a:ext cx="1394596" cy="302168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6170771" y="774006"/>
            <a:ext cx="1394596" cy="302168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267313" y="1272212"/>
            <a:ext cx="8581720" cy="321075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7648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9156" y="1089184"/>
            <a:ext cx="3886200" cy="3263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9656" y="1089184"/>
            <a:ext cx="3886200" cy="3263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9157" y="1384402"/>
            <a:ext cx="2693736" cy="622203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3145121" y="1384402"/>
            <a:ext cx="2693736" cy="622203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005728" y="1384402"/>
            <a:ext cx="2693736" cy="622203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272008" y="2134135"/>
            <a:ext cx="2694337" cy="2454275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3145732" y="2134135"/>
            <a:ext cx="2694337" cy="2454275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6005162" y="2134135"/>
            <a:ext cx="2694337" cy="2454275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0615" y="654050"/>
            <a:ext cx="6948752" cy="297472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7313" y="1442182"/>
            <a:ext cx="269256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267313" y="2508347"/>
            <a:ext cx="269256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267313" y="3598876"/>
            <a:ext cx="2692561" cy="575214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2915201" y="1378680"/>
            <a:ext cx="5441601" cy="862965"/>
          </a:xfrm>
        </p:spPr>
        <p:txBody>
          <a:bodyPr tIns="0" bIns="0" anchor="t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2915201" y="2452563"/>
            <a:ext cx="5441601" cy="879612"/>
          </a:xfrm>
        </p:spPr>
        <p:txBody>
          <a:bodyPr tIns="0" bIns="0" anchor="t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2915201" y="3535374"/>
            <a:ext cx="5441601" cy="1045091"/>
          </a:xfrm>
        </p:spPr>
        <p:txBody>
          <a:bodyPr tIns="0" bIns="0" anchor="t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0615" y="654050"/>
            <a:ext cx="6948752" cy="297472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21593" y="3091815"/>
            <a:ext cx="2066864" cy="110963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2430841" y="3091815"/>
            <a:ext cx="2066864" cy="110963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4640088" y="3091815"/>
            <a:ext cx="2066864" cy="110963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6849334" y="3091815"/>
            <a:ext cx="2066864" cy="110963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69156" y="154858"/>
            <a:ext cx="6944443" cy="852676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0616" y="1019808"/>
            <a:ext cx="6948752" cy="359300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509" y="2071227"/>
            <a:ext cx="8435930" cy="525411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77548" y="2605786"/>
            <a:ext cx="8438889" cy="359300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0" y="0"/>
            <a:ext cx="5945444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5945443" y="0"/>
            <a:ext cx="91808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6863531" y="0"/>
            <a:ext cx="1852908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8716438" y="0"/>
            <a:ext cx="427562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69157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69874" y="1401763"/>
            <a:ext cx="6943725" cy="3170237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4849" y="654050"/>
            <a:ext cx="6948752" cy="297472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802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29893"/>
            <a:ext cx="638175" cy="25696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82962" y="748587"/>
            <a:ext cx="5896743" cy="2550940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729893"/>
            <a:ext cx="638175" cy="25696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112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29893"/>
            <a:ext cx="638175" cy="25696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82962" y="748587"/>
            <a:ext cx="5896743" cy="2550940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729893"/>
            <a:ext cx="638175" cy="25696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729893"/>
            <a:ext cx="638175" cy="25696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962" y="748587"/>
            <a:ext cx="5896743" cy="2550940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729893"/>
            <a:ext cx="638175" cy="25696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7313" y="1272212"/>
            <a:ext cx="8581720" cy="321075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4849" y="654050"/>
            <a:ext cx="6948752" cy="297472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005549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lor Bar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7313" y="1272212"/>
            <a:ext cx="8581720" cy="321075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524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4849" y="654050"/>
            <a:ext cx="6948752" cy="297472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130294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6349490" y="75520"/>
            <a:ext cx="2794510" cy="15620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850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4849" y="654050"/>
            <a:ext cx="6948752" cy="297472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file://localhost/Users/ldorion/Desktop/PPT/Assets/metlife_eng_logo_cmyk-c.jpg" TargetMode="Externa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157" y="153621"/>
            <a:ext cx="6394608" cy="570279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7313" y="1390746"/>
            <a:ext cx="8089489" cy="321075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218666" y="4895569"/>
            <a:ext cx="3086100" cy="10836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5" name="metlife_eng_logo_cmyk-c.jpg" descr="/Users/ldorion/Desktop/PPT/Assets/metlife_eng_logo_cmyk-c.jpg"/>
          <p:cNvPicPr>
            <a:picLocks noChangeAspect="1"/>
          </p:cNvPicPr>
          <p:nvPr userDrawn="1"/>
        </p:nvPicPr>
        <p:blipFill>
          <a:blip r:embed="rId20" r:link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7" y="4693794"/>
            <a:ext cx="1167866" cy="45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3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24" r:id="rId2"/>
    <p:sldLayoutId id="2147483741" r:id="rId3"/>
    <p:sldLayoutId id="2147483725" r:id="rId4"/>
    <p:sldLayoutId id="2147483726" r:id="rId5"/>
    <p:sldLayoutId id="2147483727" r:id="rId6"/>
    <p:sldLayoutId id="2147483742" r:id="rId7"/>
    <p:sldLayoutId id="2147483735" r:id="rId8"/>
    <p:sldLayoutId id="2147483720" r:id="rId9"/>
    <p:sldLayoutId id="2147483722" r:id="rId10"/>
    <p:sldLayoutId id="2147483723" r:id="rId11"/>
    <p:sldLayoutId id="2147483737" r:id="rId12"/>
    <p:sldLayoutId id="2147483739" r:id="rId13"/>
    <p:sldLayoutId id="2147483728" r:id="rId14"/>
    <p:sldLayoutId id="2147483731" r:id="rId15"/>
    <p:sldLayoutId id="2147483732" r:id="rId16"/>
    <p:sldLayoutId id="2147483733" r:id="rId17"/>
    <p:sldLayoutId id="2147483734" r:id="rId1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ular Savings Plan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er’s Name	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Presenter’s Departmen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299789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8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/>
          <a:lstStyle/>
          <a:p>
            <a:r>
              <a:rPr lang="en-US" sz="2800" dirty="0"/>
              <a:t>Optional Coverage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157" y="614014"/>
            <a:ext cx="6948752" cy="29747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(For Resident clients only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618701" y="1300759"/>
            <a:ext cx="25928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sz="1200" b="1" dirty="0"/>
              <a:t>Waiver of Premium on Death or Disability on Owner’s life</a:t>
            </a:r>
            <a:endParaRPr lang="en-GB" sz="1200" kern="0" dirty="0"/>
          </a:p>
        </p:txBody>
      </p:sp>
      <p:sp>
        <p:nvSpPr>
          <p:cNvPr id="27" name="Rectangle 26"/>
          <p:cNvSpPr/>
          <p:nvPr/>
        </p:nvSpPr>
        <p:spPr>
          <a:xfrm>
            <a:off x="1618701" y="2235377"/>
            <a:ext cx="21622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sz="1200" b="1" dirty="0"/>
              <a:t>Accidental Death Benefit</a:t>
            </a:r>
            <a:endParaRPr lang="en-GB" sz="1200" kern="0" dirty="0"/>
          </a:p>
        </p:txBody>
      </p:sp>
      <p:sp>
        <p:nvSpPr>
          <p:cNvPr id="28" name="Rectangle 27"/>
          <p:cNvSpPr/>
          <p:nvPr/>
        </p:nvSpPr>
        <p:spPr>
          <a:xfrm>
            <a:off x="1618701" y="2985329"/>
            <a:ext cx="24509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200" b="1" dirty="0"/>
              <a:t>Permanent and Total Disability</a:t>
            </a:r>
            <a:endParaRPr lang="en-US" sz="1200" dirty="0"/>
          </a:p>
        </p:txBody>
      </p:sp>
      <p:sp>
        <p:nvSpPr>
          <p:cNvPr id="29" name="Rectangle 28"/>
          <p:cNvSpPr/>
          <p:nvPr/>
        </p:nvSpPr>
        <p:spPr>
          <a:xfrm>
            <a:off x="1618701" y="3808853"/>
            <a:ext cx="23672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200" b="1" dirty="0"/>
              <a:t>Stand-alone Critical Illness</a:t>
            </a:r>
            <a:endParaRPr lang="en-US" sz="12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020" y="2821114"/>
            <a:ext cx="605428" cy="60542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571" y="1229360"/>
            <a:ext cx="593278" cy="5932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92" y="3661545"/>
            <a:ext cx="571614" cy="5716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27" y="2019162"/>
            <a:ext cx="640521" cy="64052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204138" y="1250731"/>
            <a:ext cx="4424855" cy="5990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>
                <a:solidFill>
                  <a:schemeClr val="tx1"/>
                </a:solidFill>
              </a:rPr>
              <a:t>Waiver of Premium up to age 75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204138" y="2070538"/>
            <a:ext cx="4424855" cy="5990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Accidental Death Benefit up to $200,000 cove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204138" y="2848303"/>
            <a:ext cx="4424855" cy="5990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PTD up to $250,000 cover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204138" y="3636579"/>
            <a:ext cx="4424855" cy="5990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CI up to $250,000 cov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F3B765-CAC0-4388-B9D3-F5CB86B4A194}"/>
              </a:ext>
            </a:extLst>
          </p:cNvPr>
          <p:cNvSpPr txBox="1"/>
          <p:nvPr/>
        </p:nvSpPr>
        <p:spPr>
          <a:xfrm>
            <a:off x="336929" y="4447711"/>
            <a:ext cx="5014452" cy="229495"/>
          </a:xfrm>
          <a:prstGeom prst="rect">
            <a:avLst/>
          </a:prstGeom>
          <a:noFill/>
        </p:spPr>
        <p:txBody>
          <a:bodyPr wrap="square" lIns="91440" tIns="0" rIns="91440" bIns="0" rtlCol="0">
            <a:noAutofit/>
          </a:bodyPr>
          <a:lstStyle/>
          <a:p>
            <a:r>
              <a:rPr lang="en-US" sz="1050" i="1" dirty="0">
                <a:solidFill>
                  <a:schemeClr val="accent3"/>
                </a:solidFill>
              </a:rPr>
              <a:t>Permanent and Total Disability is only offered when Critical Illness is offered.</a:t>
            </a:r>
          </a:p>
        </p:txBody>
      </p:sp>
    </p:spTree>
    <p:extLst>
      <p:ext uri="{BB962C8B-B14F-4D97-AF65-F5344CB8AC3E}">
        <p14:creationId xmlns:p14="http://schemas.microsoft.com/office/powerpoint/2010/main" val="9507195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1143000" y="3426542"/>
            <a:ext cx="6858000" cy="1319748"/>
          </a:xfrm>
          <a:prstGeom prst="rect">
            <a:avLst/>
          </a:prstGeom>
          <a:solidFill>
            <a:schemeClr val="accent1">
              <a:lumMod val="20000"/>
              <a:lumOff val="8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estment choic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FE4F164-3B52-497A-8B1B-735C8D7AA763}"/>
              </a:ext>
            </a:extLst>
          </p:cNvPr>
          <p:cNvGrpSpPr/>
          <p:nvPr/>
        </p:nvGrpSpPr>
        <p:grpSpPr>
          <a:xfrm>
            <a:off x="1143000" y="756119"/>
            <a:ext cx="6858000" cy="1227485"/>
            <a:chOff x="0" y="1392753"/>
            <a:chExt cx="9144000" cy="163664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41273BB-904D-4F7F-B71B-470F2CB98F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6322" b="28888"/>
            <a:stretch/>
          </p:blipFill>
          <p:spPr>
            <a:xfrm>
              <a:off x="0" y="1392753"/>
              <a:ext cx="9144000" cy="1636647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58FED4E-D29C-491F-803B-A401B02BFF3B}"/>
                </a:ext>
              </a:extLst>
            </p:cNvPr>
            <p:cNvSpPr txBox="1"/>
            <p:nvPr/>
          </p:nvSpPr>
          <p:spPr>
            <a:xfrm>
              <a:off x="714375" y="2239363"/>
              <a:ext cx="7715250" cy="542346"/>
            </a:xfrm>
            <a:prstGeom prst="rect">
              <a:avLst/>
            </a:prstGeom>
            <a:noFill/>
          </p:spPr>
          <p:txBody>
            <a:bodyPr wrap="square" lIns="68580" tIns="0" rIns="68580" bIns="0" rtlCol="0" anchor="ctr">
              <a:noAutofit/>
            </a:bodyPr>
            <a:lstStyle/>
            <a:p>
              <a:pPr algn="ctr"/>
              <a:r>
                <a:rPr lang="en-US" sz="270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We’re here to make life better</a:t>
              </a:r>
            </a:p>
          </p:txBody>
        </p:sp>
      </p:grpSp>
      <p:sp>
        <p:nvSpPr>
          <p:cNvPr id="43" name="Rectangle 42"/>
          <p:cNvSpPr/>
          <p:nvPr>
            <p:custDataLst>
              <p:tags r:id="rId1"/>
            </p:custDataLst>
          </p:nvPr>
        </p:nvSpPr>
        <p:spPr>
          <a:xfrm>
            <a:off x="1620500" y="3617358"/>
            <a:ext cx="818979" cy="95850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en-US" sz="900" b="1" dirty="0">
                <a:latin typeface="+mj-lt"/>
              </a:rPr>
              <a:t>Choose between 3 fundamental investment strategi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952636" y="4275779"/>
            <a:ext cx="141673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350" b="1" dirty="0">
                <a:solidFill>
                  <a:schemeClr val="accent2"/>
                </a:solidFill>
                <a:ea typeface="MS PGothic" pitchFamily="34" charset="-128"/>
                <a:cs typeface="Arial Narrow" pitchFamily="34" charset="0"/>
              </a:rPr>
              <a:t>Conservative</a:t>
            </a:r>
            <a:endParaRPr lang="en-US" sz="1350" dirty="0"/>
          </a:p>
        </p:txBody>
      </p:sp>
      <p:sp>
        <p:nvSpPr>
          <p:cNvPr id="34" name="Rectangle 33"/>
          <p:cNvSpPr/>
          <p:nvPr/>
        </p:nvSpPr>
        <p:spPr>
          <a:xfrm>
            <a:off x="4680548" y="4275779"/>
            <a:ext cx="141673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350" b="1">
                <a:solidFill>
                  <a:schemeClr val="accent2"/>
                </a:solidFill>
                <a:ea typeface="MS PGothic" pitchFamily="34" charset="-128"/>
                <a:cs typeface="Arial Narrow" pitchFamily="34" charset="0"/>
              </a:rPr>
              <a:t>Balanced</a:t>
            </a:r>
            <a:endParaRPr lang="en-US" sz="1350" dirty="0"/>
          </a:p>
        </p:txBody>
      </p:sp>
      <p:sp>
        <p:nvSpPr>
          <p:cNvPr id="35" name="Rectangle 34"/>
          <p:cNvSpPr/>
          <p:nvPr/>
        </p:nvSpPr>
        <p:spPr>
          <a:xfrm>
            <a:off x="6071111" y="4275779"/>
            <a:ext cx="141673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350" b="1" dirty="0">
                <a:solidFill>
                  <a:schemeClr val="accent2"/>
                </a:solidFill>
                <a:ea typeface="MS PGothic" pitchFamily="34" charset="-128"/>
                <a:cs typeface="Arial Narrow" pitchFamily="34" charset="0"/>
              </a:rPr>
              <a:t>Aggressive</a:t>
            </a:r>
            <a:endParaRPr lang="en-US" sz="1350" dirty="0"/>
          </a:p>
        </p:txBody>
      </p:sp>
      <p:grpSp>
        <p:nvGrpSpPr>
          <p:cNvPr id="36" name="Group 35"/>
          <p:cNvGrpSpPr/>
          <p:nvPr/>
        </p:nvGrpSpPr>
        <p:grpSpPr>
          <a:xfrm>
            <a:off x="1143000" y="2121840"/>
            <a:ext cx="1371922" cy="1116107"/>
            <a:chOff x="3621865" y="3559883"/>
            <a:chExt cx="1371922" cy="1116107"/>
          </a:xfrm>
        </p:grpSpPr>
        <p:sp>
          <p:nvSpPr>
            <p:cNvPr id="37" name="TextBox 36"/>
            <p:cNvSpPr txBox="1"/>
            <p:nvPr/>
          </p:nvSpPr>
          <p:spPr>
            <a:xfrm>
              <a:off x="3630969" y="3716941"/>
              <a:ext cx="105321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0" cap="none" spc="-150" normalizeH="0" baseline="30000" noProof="0" dirty="0">
                  <a:ln>
                    <a:noFill/>
                  </a:ln>
                  <a:solidFill>
                    <a:srgbClr val="00AFA8"/>
                  </a:solidFill>
                  <a:effectLst/>
                  <a:uLnTx/>
                  <a:uFillTx/>
                  <a:ea typeface="Arial" charset="0"/>
                  <a:cs typeface="Arial" charset="0"/>
                </a:rPr>
                <a:t>170+</a:t>
              </a:r>
              <a:endParaRPr kumimoji="0" lang="en-US" sz="4800" b="1" i="0" u="none" strike="noStrike" kern="0" cap="none" spc="-150" normalizeH="0" baseline="0" noProof="0" dirty="0">
                <a:ln>
                  <a:noFill/>
                </a:ln>
                <a:solidFill>
                  <a:srgbClr val="00AFA8"/>
                </a:solidFill>
                <a:effectLst/>
                <a:uLnTx/>
                <a:uFillTx/>
                <a:ea typeface="Arial" charset="0"/>
                <a:cs typeface="Arial" charset="0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621865" y="3559883"/>
              <a:ext cx="68961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-3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Arial" charset="0"/>
                  <a:cs typeface="Arial" charset="0"/>
                </a:rPr>
                <a:t>Up to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cxnSp>
          <p:nvCxnSpPr>
            <p:cNvPr id="39" name="Straight Connector 38"/>
            <p:cNvCxnSpPr/>
            <p:nvPr/>
          </p:nvCxnSpPr>
          <p:spPr>
            <a:xfrm>
              <a:off x="3662502" y="4675990"/>
              <a:ext cx="1330964" cy="0"/>
            </a:xfrm>
            <a:prstGeom prst="line">
              <a:avLst/>
            </a:prstGeom>
            <a:noFill/>
            <a:ln w="38100" cap="flat" cmpd="sng" algn="ctr">
              <a:solidFill>
                <a:srgbClr val="00AFA8"/>
              </a:solidFill>
              <a:prstDash val="solid"/>
              <a:miter lim="800000"/>
            </a:ln>
            <a:effectLst/>
          </p:spPr>
        </p:cxnSp>
        <p:sp>
          <p:nvSpPr>
            <p:cNvPr id="40" name="Rectangle 39"/>
            <p:cNvSpPr/>
            <p:nvPr/>
          </p:nvSpPr>
          <p:spPr>
            <a:xfrm>
              <a:off x="3662823" y="4133734"/>
              <a:ext cx="133096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kern="0" spc="-30" dirty="0">
                  <a:solidFill>
                    <a:prstClr val="black"/>
                  </a:solidFill>
                  <a:ea typeface="Arial" charset="0"/>
                  <a:cs typeface="Arial" charset="0"/>
                </a:rPr>
                <a:t>Direct funds to choose from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41" name="Rectangle 40"/>
          <p:cNvSpPr/>
          <p:nvPr/>
        </p:nvSpPr>
        <p:spPr>
          <a:xfrm>
            <a:off x="3259373" y="2225287"/>
            <a:ext cx="1684693" cy="10064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646113" fontAlgn="base">
              <a:spcAft>
                <a:spcPct val="0"/>
              </a:spcAft>
            </a:pPr>
            <a:r>
              <a:rPr lang="en-US" sz="3600" b="1" kern="0" spc="-150" dirty="0">
                <a:solidFill>
                  <a:srgbClr val="F9C20A"/>
                </a:solidFill>
                <a:ea typeface="Arial" charset="0"/>
                <a:cs typeface="Arial" charset="0"/>
              </a:rPr>
              <a:t>Free</a:t>
            </a:r>
            <a:endParaRPr lang="en-US" altLang="en-US" sz="3600" b="1" dirty="0">
              <a:solidFill>
                <a:schemeClr val="accent2"/>
              </a:solidFill>
              <a:ea typeface="MS PGothic" pitchFamily="34" charset="-128"/>
              <a:cs typeface="Arial Narrow" pitchFamily="34" charset="0"/>
            </a:endParaRPr>
          </a:p>
          <a:p>
            <a:pPr defTabSz="646113" fontAlgn="base">
              <a:spcAft>
                <a:spcPct val="0"/>
              </a:spcAft>
            </a:pPr>
            <a:r>
              <a:rPr lang="en-US" altLang="en-US" sz="1200" b="1" dirty="0">
                <a:solidFill>
                  <a:schemeClr val="tx1"/>
                </a:solidFill>
                <a:ea typeface="MS PGothic" pitchFamily="34" charset="-128"/>
                <a:cs typeface="Arial Narrow" pitchFamily="34" charset="0"/>
              </a:rPr>
              <a:t>Premium Redirection</a:t>
            </a:r>
            <a:endParaRPr lang="en-US" altLang="en-US" sz="1800" b="1" dirty="0">
              <a:solidFill>
                <a:schemeClr val="accent2"/>
              </a:solidFill>
              <a:ea typeface="MS PGothic" pitchFamily="34" charset="-128"/>
              <a:cs typeface="Arial Narrow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316773" y="2203657"/>
            <a:ext cx="2093828" cy="10064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46113" fontAlgn="base">
              <a:spcAft>
                <a:spcPct val="0"/>
              </a:spcAft>
            </a:pPr>
            <a:r>
              <a:rPr lang="en-US" sz="3600" b="1" kern="0" spc="-150" dirty="0">
                <a:solidFill>
                  <a:srgbClr val="A5CF4F"/>
                </a:solidFill>
                <a:ea typeface="Arial" charset="0"/>
                <a:cs typeface="Arial" charset="0"/>
              </a:rPr>
              <a:t>Unlimited</a:t>
            </a:r>
            <a:endParaRPr lang="en-US" altLang="en-US" sz="3600" b="1" dirty="0">
              <a:solidFill>
                <a:schemeClr val="accent2"/>
              </a:solidFill>
              <a:ea typeface="MS PGothic" pitchFamily="34" charset="-128"/>
              <a:cs typeface="Arial Narrow" pitchFamily="34" charset="0"/>
            </a:endParaRPr>
          </a:p>
          <a:p>
            <a:pPr algn="ctr" defTabSz="646113" fontAlgn="base">
              <a:spcAft>
                <a:spcPct val="0"/>
              </a:spcAft>
            </a:pPr>
            <a:r>
              <a:rPr lang="en-US" altLang="en-US" sz="1200" b="1" dirty="0">
                <a:solidFill>
                  <a:schemeClr val="tx1"/>
                </a:solidFill>
                <a:ea typeface="MS PGothic" pitchFamily="34" charset="-128"/>
                <a:cs typeface="Arial Narrow" pitchFamily="34" charset="0"/>
              </a:rPr>
              <a:t>Free Switches</a:t>
            </a:r>
            <a:endParaRPr lang="en-US" altLang="en-US" sz="1800" b="1" dirty="0">
              <a:solidFill>
                <a:schemeClr val="accent2"/>
              </a:solidFill>
              <a:ea typeface="MS PGothic" pitchFamily="34" charset="-128"/>
              <a:cs typeface="Arial Narrow" pitchFamily="34" charset="0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5366290" y="3237947"/>
            <a:ext cx="2098929" cy="0"/>
          </a:xfrm>
          <a:prstGeom prst="line">
            <a:avLst/>
          </a:prstGeom>
          <a:noFill/>
          <a:ln w="38100" cap="flat" cmpd="sng" algn="ctr">
            <a:solidFill>
              <a:srgbClr val="A5CF4F"/>
            </a:solidFill>
            <a:prstDash val="solid"/>
            <a:miter lim="800000"/>
          </a:ln>
          <a:effectLst/>
        </p:spPr>
      </p:cxnSp>
      <p:cxnSp>
        <p:nvCxnSpPr>
          <p:cNvPr id="55" name="Straight Connector 54"/>
          <p:cNvCxnSpPr/>
          <p:nvPr/>
        </p:nvCxnSpPr>
        <p:spPr>
          <a:xfrm>
            <a:off x="3259373" y="3237947"/>
            <a:ext cx="1684693" cy="0"/>
          </a:xfrm>
          <a:prstGeom prst="line">
            <a:avLst/>
          </a:prstGeom>
          <a:noFill/>
          <a:ln w="38100" cap="flat" cmpd="sng" algn="ctr">
            <a:solidFill>
              <a:srgbClr val="F9C20A"/>
            </a:solidFill>
            <a:prstDash val="solid"/>
            <a:miter lim="800000"/>
          </a:ln>
          <a:effectLst/>
        </p:spPr>
      </p:cxnSp>
      <p:pic>
        <p:nvPicPr>
          <p:cNvPr id="56" name="Picture 5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871" y="3646251"/>
            <a:ext cx="629528" cy="629528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9373" y="3646251"/>
            <a:ext cx="629528" cy="629528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7992" y="3727149"/>
            <a:ext cx="548630" cy="548630"/>
          </a:xfrm>
          <a:prstGeom prst="rect">
            <a:avLst/>
          </a:prstGeom>
        </p:spPr>
      </p:pic>
      <p:sp>
        <p:nvSpPr>
          <p:cNvPr id="6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4887404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7313" y="647086"/>
            <a:ext cx="4573628" cy="1625467"/>
          </a:xfrm>
        </p:spPr>
        <p:txBody>
          <a:bodyPr>
            <a:normAutofit/>
          </a:bodyPr>
          <a:lstStyle/>
          <a:p>
            <a:pPr marL="231775" indent="-231775" eaLnBrk="0" hangingPunct="0">
              <a:lnSpc>
                <a:spcPct val="100000"/>
              </a:lnSpc>
              <a:spcAft>
                <a:spcPct val="20000"/>
              </a:spcAft>
              <a:buClr>
                <a:srgbClr val="0070C0"/>
              </a:buClr>
              <a:buSzPct val="100000"/>
              <a:buFont typeface="Arial" charset="0"/>
              <a:buChar char="•"/>
            </a:pPr>
            <a:r>
              <a:rPr lang="en-GB" altLang="en-US" sz="12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Lump sum payment</a:t>
            </a:r>
          </a:p>
          <a:p>
            <a:pPr marL="231775" indent="-231775" eaLnBrk="0" hangingPunct="0">
              <a:lnSpc>
                <a:spcPct val="100000"/>
              </a:lnSpc>
              <a:spcAft>
                <a:spcPct val="20000"/>
              </a:spcAft>
              <a:buClr>
                <a:srgbClr val="0070C0"/>
              </a:buClr>
              <a:buSzPct val="100000"/>
              <a:buFont typeface="Arial" charset="0"/>
              <a:buChar char="•"/>
            </a:pPr>
            <a:r>
              <a:rPr lang="en-US" altLang="en-US" sz="12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Annuities</a:t>
            </a:r>
            <a:br>
              <a:rPr lang="en-US" altLang="en-US" sz="12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/>
              <a:t>The annuity rate is determined at the time the policy matures and the owner chooses to purchase an annuity with MetLife.</a:t>
            </a:r>
            <a:endParaRPr lang="en-GB" altLang="en-US" sz="1200" dirty="0">
              <a:solidFill>
                <a:srgbClr val="333333"/>
              </a:solidFill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lnSpc>
                <a:spcPct val="100000"/>
              </a:lnSpc>
              <a:spcAft>
                <a:spcPct val="20000"/>
              </a:spcAft>
              <a:buClr>
                <a:srgbClr val="0070C0"/>
              </a:buClr>
              <a:buSzPct val="100000"/>
              <a:buFont typeface="Arial" charset="0"/>
              <a:buChar char="•"/>
            </a:pPr>
            <a:r>
              <a:rPr lang="en-GB" altLang="en-US" sz="12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Partial Lump sum with Annuity</a:t>
            </a:r>
          </a:p>
          <a:p>
            <a:pPr marL="231775" indent="-231775" eaLnBrk="0" hangingPunct="0">
              <a:lnSpc>
                <a:spcPct val="100000"/>
              </a:lnSpc>
              <a:spcAft>
                <a:spcPct val="20000"/>
              </a:spcAft>
              <a:buClr>
                <a:srgbClr val="0070C0"/>
              </a:buClr>
              <a:buSzPct val="100000"/>
              <a:buFont typeface="Arial" charset="0"/>
              <a:buChar char="•"/>
            </a:pPr>
            <a:r>
              <a:rPr lang="en-GB" altLang="en-US" sz="12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Annuity </a:t>
            </a:r>
            <a:r>
              <a:rPr lang="en-GB" altLang="en-US" sz="1200" b="1" dirty="0" err="1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eg</a:t>
            </a:r>
            <a:r>
              <a:rPr lang="en-GB" altLang="en-US" sz="12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., Guaranteed for 20 years and Life thereafter</a:t>
            </a:r>
            <a:endParaRPr lang="en-US" sz="1200" b="1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aturity Option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974896" y="2504514"/>
            <a:ext cx="1588381" cy="48470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b="1" dirty="0"/>
              <a:t>Scenario 1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Income for Life</a:t>
            </a:r>
          </a:p>
        </p:txBody>
      </p:sp>
      <p:sp>
        <p:nvSpPr>
          <p:cNvPr id="12" name="Text Placeholder 4"/>
          <p:cNvSpPr txBox="1">
            <a:spLocks/>
          </p:cNvSpPr>
          <p:nvPr/>
        </p:nvSpPr>
        <p:spPr>
          <a:xfrm>
            <a:off x="5843158" y="2384607"/>
            <a:ext cx="3100630" cy="706580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4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30969" indent="-126206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2419" indent="-17145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8625" indent="-1321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0785" indent="-1702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b="1" dirty="0"/>
              <a:t>Scenario 2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The importance of th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20-year guarantee</a:t>
            </a:r>
            <a:endParaRPr lang="en-US" sz="1400" dirty="0"/>
          </a:p>
        </p:txBody>
      </p:sp>
      <p:grpSp>
        <p:nvGrpSpPr>
          <p:cNvPr id="33" name="Group 32"/>
          <p:cNvGrpSpPr/>
          <p:nvPr/>
        </p:nvGrpSpPr>
        <p:grpSpPr>
          <a:xfrm>
            <a:off x="379506" y="3306355"/>
            <a:ext cx="4461435" cy="1026611"/>
            <a:chOff x="379506" y="3148081"/>
            <a:chExt cx="4461435" cy="1026611"/>
          </a:xfrm>
        </p:grpSpPr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379506" y="3473516"/>
              <a:ext cx="1317064" cy="467912"/>
            </a:xfrm>
            <a:prstGeom prst="rect">
              <a:avLst/>
            </a:prstGeom>
            <a:solidFill>
              <a:schemeClr val="accent4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b"/>
            <a:lstStyle/>
            <a:p>
              <a:endParaRPr 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ight Arrow 13"/>
            <p:cNvSpPr/>
            <p:nvPr/>
          </p:nvSpPr>
          <p:spPr bwMode="auto">
            <a:xfrm>
              <a:off x="1696571" y="3254189"/>
              <a:ext cx="3144370" cy="920503"/>
            </a:xfrm>
            <a:prstGeom prst="rightArrow">
              <a:avLst/>
            </a:prstGeom>
            <a:gradFill flip="none" rotWithShape="1">
              <a:gsLst>
                <a:gs pos="6000">
                  <a:schemeClr val="accent1"/>
                </a:gs>
                <a:gs pos="0">
                  <a:schemeClr val="bg1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b"/>
            <a:lstStyle/>
            <a:p>
              <a:pPr>
                <a:defRPr/>
              </a:pPr>
              <a:endParaRPr 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3"/>
            <p:cNvSpPr txBox="1">
              <a:spLocks noChangeArrowheads="1"/>
            </p:cNvSpPr>
            <p:nvPr/>
          </p:nvSpPr>
          <p:spPr bwMode="auto">
            <a:xfrm>
              <a:off x="1501084" y="3148081"/>
              <a:ext cx="494808" cy="18758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just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Age 65</a:t>
              </a:r>
            </a:p>
          </p:txBody>
        </p:sp>
        <p:sp>
          <p:nvSpPr>
            <p:cNvPr id="16" name="Rectangle 3"/>
            <p:cNvSpPr txBox="1">
              <a:spLocks noChangeArrowheads="1"/>
            </p:cNvSpPr>
            <p:nvPr/>
          </p:nvSpPr>
          <p:spPr bwMode="auto">
            <a:xfrm>
              <a:off x="2783133" y="3615768"/>
              <a:ext cx="971245" cy="17116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just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come for Life</a:t>
              </a:r>
            </a:p>
          </p:txBody>
        </p:sp>
        <p:cxnSp>
          <p:nvCxnSpPr>
            <p:cNvPr id="21" name="OTLSHAPE_M_c6c892620afd42aba44c1b51ae7d3a52_Connector1"/>
            <p:cNvCxnSpPr/>
            <p:nvPr>
              <p:custDataLst>
                <p:tags r:id="rId3"/>
              </p:custDataLst>
            </p:nvPr>
          </p:nvCxnSpPr>
          <p:spPr>
            <a:xfrm>
              <a:off x="1693437" y="3302114"/>
              <a:ext cx="0" cy="243994"/>
            </a:xfrm>
            <a:prstGeom prst="line">
              <a:avLst/>
            </a:prstGeom>
            <a:ln w="6350" cap="flat" cmpd="sng" algn="ctr">
              <a:solidFill>
                <a:schemeClr val="accent4"/>
              </a:solidFill>
              <a:prstDash val="solid"/>
              <a:miter lim="800000"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3"/>
            <p:cNvSpPr txBox="1">
              <a:spLocks noChangeArrowheads="1"/>
            </p:cNvSpPr>
            <p:nvPr/>
          </p:nvSpPr>
          <p:spPr bwMode="auto">
            <a:xfrm>
              <a:off x="460462" y="3546108"/>
              <a:ext cx="1133648" cy="42685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 years contribution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359400" y="3330781"/>
            <a:ext cx="3675828" cy="1174060"/>
            <a:chOff x="5359400" y="3148081"/>
            <a:chExt cx="3675828" cy="1174060"/>
          </a:xfrm>
        </p:grpSpPr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5359400" y="3470679"/>
              <a:ext cx="1317064" cy="467912"/>
            </a:xfrm>
            <a:prstGeom prst="rect">
              <a:avLst/>
            </a:prstGeom>
            <a:solidFill>
              <a:schemeClr val="accent4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b"/>
            <a:lstStyle/>
            <a:p>
              <a:endParaRPr 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3"/>
            <p:cNvSpPr txBox="1">
              <a:spLocks noChangeArrowheads="1"/>
            </p:cNvSpPr>
            <p:nvPr/>
          </p:nvSpPr>
          <p:spPr bwMode="auto">
            <a:xfrm>
              <a:off x="5436539" y="3546108"/>
              <a:ext cx="1133648" cy="42685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 years contribution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676464" y="3470679"/>
              <a:ext cx="356348" cy="4646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 spc="-6" dirty="0">
                <a:cs typeface="Arial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032812" y="3470830"/>
              <a:ext cx="2002416" cy="46447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b="1" spc="-6" dirty="0">
                  <a:latin typeface="Arial"/>
                  <a:cs typeface="Arial"/>
                </a:rPr>
                <a:t>Guaranteed 20 Years</a:t>
              </a:r>
            </a:p>
            <a:p>
              <a:pPr algn="ctr"/>
              <a:r>
                <a:rPr lang="en-US" sz="800" i="1" dirty="0">
                  <a:latin typeface="Arial" pitchFamily="34" charset="0"/>
                  <a:cs typeface="Arial" pitchFamily="34" charset="0"/>
                </a:rPr>
                <a:t>Annuity will be paid for the next 15 years </a:t>
              </a:r>
            </a:p>
            <a:p>
              <a:pPr algn="ctr"/>
              <a:r>
                <a:rPr lang="en-US" sz="800" i="1" dirty="0">
                  <a:latin typeface="Arial" pitchFamily="34" charset="0"/>
                  <a:cs typeface="Arial" pitchFamily="34" charset="0"/>
                </a:rPr>
                <a:t>to the beneficiaries</a:t>
              </a:r>
            </a:p>
          </p:txBody>
        </p:sp>
        <p:cxnSp>
          <p:nvCxnSpPr>
            <p:cNvPr id="28" name="OTLSHAPE_M_c6c892620afd42aba44c1b51ae7d3a52_Connector1"/>
            <p:cNvCxnSpPr/>
            <p:nvPr>
              <p:custDataLst>
                <p:tags r:id="rId1"/>
              </p:custDataLst>
            </p:nvPr>
          </p:nvCxnSpPr>
          <p:spPr>
            <a:xfrm>
              <a:off x="6668955" y="3302114"/>
              <a:ext cx="0" cy="243994"/>
            </a:xfrm>
            <a:prstGeom prst="line">
              <a:avLst/>
            </a:prstGeom>
            <a:ln w="6350" cap="flat" cmpd="sng" algn="ctr">
              <a:solidFill>
                <a:schemeClr val="accent4"/>
              </a:solidFill>
              <a:prstDash val="solid"/>
              <a:miter lim="800000"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OTLSHAPE_M_c6c892620afd42aba44c1b51ae7d3a52_Connector1"/>
            <p:cNvCxnSpPr/>
            <p:nvPr>
              <p:custDataLst>
                <p:tags r:id="rId2"/>
              </p:custDataLst>
            </p:nvPr>
          </p:nvCxnSpPr>
          <p:spPr>
            <a:xfrm rot="10800000">
              <a:off x="7021804" y="3819661"/>
              <a:ext cx="0" cy="243994"/>
            </a:xfrm>
            <a:prstGeom prst="line">
              <a:avLst/>
            </a:prstGeom>
            <a:ln w="6350" cap="flat" cmpd="sng" algn="ctr">
              <a:solidFill>
                <a:schemeClr val="accent2"/>
              </a:solidFill>
              <a:prstDash val="solid"/>
              <a:miter lim="800000"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3"/>
            <p:cNvSpPr txBox="1">
              <a:spLocks noChangeArrowheads="1"/>
            </p:cNvSpPr>
            <p:nvPr/>
          </p:nvSpPr>
          <p:spPr bwMode="auto">
            <a:xfrm>
              <a:off x="6459465" y="3148081"/>
              <a:ext cx="494808" cy="18758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just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Age 65</a:t>
              </a:r>
            </a:p>
          </p:txBody>
        </p:sp>
        <p:sp>
          <p:nvSpPr>
            <p:cNvPr id="31" name="Rectangle 3"/>
            <p:cNvSpPr txBox="1">
              <a:spLocks noChangeArrowheads="1"/>
            </p:cNvSpPr>
            <p:nvPr/>
          </p:nvSpPr>
          <p:spPr bwMode="auto">
            <a:xfrm>
              <a:off x="6806487" y="4134553"/>
              <a:ext cx="494808" cy="18758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800">
                  <a:latin typeface="Arial" pitchFamily="34" charset="0"/>
                  <a:cs typeface="Arial" pitchFamily="34" charset="0"/>
                </a:rPr>
                <a:t>Death at </a:t>
              </a:r>
              <a:r>
                <a:rPr lang="en-US" sz="800" dirty="0">
                  <a:latin typeface="Arial" pitchFamily="34" charset="0"/>
                  <a:cs typeface="Arial" pitchFamily="34" charset="0"/>
                </a:rPr>
                <a:t>Age 70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379506" y="2406776"/>
            <a:ext cx="565374" cy="774859"/>
            <a:chOff x="379506" y="2262284"/>
            <a:chExt cx="829056" cy="1136242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5295" y="2262284"/>
              <a:ext cx="368300" cy="368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06" y="2569470"/>
              <a:ext cx="829056" cy="829056"/>
            </a:xfrm>
            <a:prstGeom prst="rect">
              <a:avLst/>
            </a:prstGeom>
          </p:spPr>
        </p:pic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4842" y="2410400"/>
            <a:ext cx="689756" cy="689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7979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nnuity is not </a:t>
            </a:r>
            <a:r>
              <a:rPr lang="en-US" dirty="0"/>
              <a:t>j</a:t>
            </a:r>
            <a:r>
              <a:rPr lang="en-US" sz="2800" dirty="0"/>
              <a:t>ust </a:t>
            </a:r>
            <a:r>
              <a:rPr lang="en-US" dirty="0"/>
              <a:t>f</a:t>
            </a:r>
            <a:r>
              <a:rPr lang="en-US" sz="2800" dirty="0"/>
              <a:t>or </a:t>
            </a:r>
            <a:r>
              <a:rPr lang="en-US" dirty="0"/>
              <a:t>p</a:t>
            </a:r>
            <a:r>
              <a:rPr lang="en-US" sz="2800" dirty="0"/>
              <a:t>ension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>
            <a:off x="369346" y="3541056"/>
            <a:ext cx="4461435" cy="1026611"/>
            <a:chOff x="379506" y="3148081"/>
            <a:chExt cx="4461435" cy="1026611"/>
          </a:xfrm>
        </p:grpSpPr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379506" y="3473516"/>
              <a:ext cx="1317064" cy="467912"/>
            </a:xfrm>
            <a:prstGeom prst="rect">
              <a:avLst/>
            </a:prstGeom>
            <a:solidFill>
              <a:schemeClr val="accent4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b"/>
            <a:lstStyle/>
            <a:p>
              <a:endParaRPr 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ight Arrow 13"/>
            <p:cNvSpPr/>
            <p:nvPr/>
          </p:nvSpPr>
          <p:spPr bwMode="auto">
            <a:xfrm>
              <a:off x="1696571" y="3254189"/>
              <a:ext cx="3144370" cy="920503"/>
            </a:xfrm>
            <a:prstGeom prst="rightArrow">
              <a:avLst/>
            </a:prstGeom>
            <a:gradFill flip="none" rotWithShape="1">
              <a:gsLst>
                <a:gs pos="6000">
                  <a:schemeClr val="accent1"/>
                </a:gs>
                <a:gs pos="0">
                  <a:schemeClr val="bg1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b"/>
            <a:lstStyle/>
            <a:p>
              <a:pPr>
                <a:defRPr/>
              </a:pPr>
              <a:endParaRPr 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3"/>
            <p:cNvSpPr txBox="1">
              <a:spLocks noChangeArrowheads="1"/>
            </p:cNvSpPr>
            <p:nvPr/>
          </p:nvSpPr>
          <p:spPr bwMode="auto">
            <a:xfrm>
              <a:off x="1501084" y="3148081"/>
              <a:ext cx="494808" cy="18758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just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Age 15</a:t>
              </a:r>
            </a:p>
          </p:txBody>
        </p:sp>
        <p:sp>
          <p:nvSpPr>
            <p:cNvPr id="16" name="Rectangle 3"/>
            <p:cNvSpPr txBox="1">
              <a:spLocks noChangeArrowheads="1"/>
            </p:cNvSpPr>
            <p:nvPr/>
          </p:nvSpPr>
          <p:spPr bwMode="auto">
            <a:xfrm>
              <a:off x="2326640" y="3636088"/>
              <a:ext cx="1940559" cy="16701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just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come for Life of $16,167 pa</a:t>
              </a:r>
            </a:p>
          </p:txBody>
        </p:sp>
        <p:cxnSp>
          <p:nvCxnSpPr>
            <p:cNvPr id="21" name="OTLSHAPE_M_c6c892620afd42aba44c1b51ae7d3a52_Connector1"/>
            <p:cNvCxnSpPr/>
            <p:nvPr>
              <p:custDataLst>
                <p:tags r:id="rId1"/>
              </p:custDataLst>
            </p:nvPr>
          </p:nvCxnSpPr>
          <p:spPr>
            <a:xfrm>
              <a:off x="1683277" y="3302114"/>
              <a:ext cx="0" cy="243994"/>
            </a:xfrm>
            <a:prstGeom prst="line">
              <a:avLst/>
            </a:prstGeom>
            <a:ln w="6350" cap="flat" cmpd="sng" algn="ctr">
              <a:solidFill>
                <a:schemeClr val="accent4"/>
              </a:solidFill>
              <a:prstDash val="solid"/>
              <a:miter lim="800000"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3"/>
            <p:cNvSpPr txBox="1">
              <a:spLocks noChangeArrowheads="1"/>
            </p:cNvSpPr>
            <p:nvPr/>
          </p:nvSpPr>
          <p:spPr bwMode="auto">
            <a:xfrm>
              <a:off x="460462" y="3546108"/>
              <a:ext cx="1133648" cy="42685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/>
            <a:lstStyle>
              <a:lvl1pPr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buClr>
                  <a:srgbClr val="006AB6"/>
                </a:buClr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0 years contribution</a:t>
              </a: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270667" y="647086"/>
            <a:ext cx="603869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</a:pPr>
            <a:r>
              <a:rPr lang="en-US" sz="1600" b="1" kern="0" dirty="0">
                <a:solidFill>
                  <a:srgbClr val="0070C0"/>
                </a:solidFill>
              </a:rPr>
              <a:t>Annuity as an income for life for a child</a:t>
            </a:r>
            <a:endParaRPr lang="en-US" sz="1600" dirty="0"/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200" dirty="0"/>
              <a:t>Annual Birthday gift </a:t>
            </a:r>
            <a:r>
              <a:rPr lang="en-US" sz="1200" dirty="0" err="1"/>
              <a:t>cheque</a:t>
            </a:r>
            <a:r>
              <a:rPr lang="en-US" sz="1200" dirty="0"/>
              <a:t> from parents/grandparents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200" dirty="0"/>
              <a:t>Gift at childbirth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200" dirty="0"/>
              <a:t>Graduation/Higher Education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200" dirty="0"/>
              <a:t>Marriage: Financial Independence</a:t>
            </a:r>
          </a:p>
        </p:txBody>
      </p:sp>
      <p:sp>
        <p:nvSpPr>
          <p:cNvPr id="5" name="Rectangle 4"/>
          <p:cNvSpPr/>
          <p:nvPr/>
        </p:nvSpPr>
        <p:spPr>
          <a:xfrm>
            <a:off x="1270000" y="2201793"/>
            <a:ext cx="522224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hangingPunct="0">
              <a:buClr>
                <a:srgbClr val="006AB6"/>
              </a:buClr>
            </a:pPr>
            <a:r>
              <a:rPr lang="en-US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ild age: 5 years, Investment Option: 2000 pm</a:t>
            </a:r>
          </a:p>
          <a:p>
            <a:pPr algn="just" eaLnBrk="0" hangingPunct="0">
              <a:buClr>
                <a:srgbClr val="006AB6"/>
              </a:buClr>
            </a:pPr>
            <a:r>
              <a:rPr lang="en-US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yment Term: 10  Years </a:t>
            </a:r>
          </a:p>
          <a:p>
            <a:pPr algn="just" eaLnBrk="0" hangingPunct="0">
              <a:buClr>
                <a:srgbClr val="006AB6"/>
              </a:buClr>
            </a:pPr>
            <a:r>
              <a:rPr lang="en-US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count Value created  $341,308/- (assuming 8% growth at an aggressive strategy)</a:t>
            </a:r>
          </a:p>
          <a:p>
            <a:pPr algn="just" eaLnBrk="0" hangingPunct="0">
              <a:buClr>
                <a:srgbClr val="006AB6"/>
              </a:buClr>
            </a:pPr>
            <a:endParaRPr lang="en-US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just" eaLnBrk="0" hangingPunct="0">
              <a:buClr>
                <a:srgbClr val="006AB6"/>
              </a:buClr>
            </a:pPr>
            <a:r>
              <a:rPr lang="en-US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 age 15 , Client decides to start Annuity for Child</a:t>
            </a:r>
          </a:p>
          <a:p>
            <a:pPr algn="just" eaLnBrk="0" hangingPunct="0">
              <a:buClr>
                <a:srgbClr val="006AB6"/>
              </a:buClr>
            </a:pPr>
            <a:r>
              <a:rPr lang="en-US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ed Annuity: $ 16,116/- </a:t>
            </a:r>
          </a:p>
          <a:p>
            <a:pPr algn="just" eaLnBrk="0" hangingPunct="0">
              <a:buClr>
                <a:srgbClr val="006AB6"/>
              </a:buClr>
            </a:pPr>
            <a:r>
              <a:rPr lang="en-US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uaranteed Annuity will be paid for the next 20 years and for life thereafter</a:t>
            </a:r>
            <a:endParaRPr lang="en-US" sz="1000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46" y="2371801"/>
            <a:ext cx="829534" cy="829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5863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quidit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794573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67002" y="2596638"/>
            <a:ext cx="6948752" cy="29747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>
                <a:latin typeface="Arial" pitchFamily="34" charset="0"/>
                <a:cs typeface="Arial" pitchFamily="34" charset="0"/>
              </a:rPr>
              <a:t>Partial Withdrawal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284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27" name="Title 8"/>
          <p:cNvSpPr txBox="1">
            <a:spLocks/>
          </p:cNvSpPr>
          <p:nvPr/>
        </p:nvSpPr>
        <p:spPr>
          <a:xfrm>
            <a:off x="269157" y="153621"/>
            <a:ext cx="6944443" cy="49346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/>
              <a:t>Liquidity - Surrenders</a:t>
            </a:r>
            <a:endParaRPr lang="en-US" dirty="0"/>
          </a:p>
        </p:txBody>
      </p:sp>
      <p:sp>
        <p:nvSpPr>
          <p:cNvPr id="32" name="Rectangle 31"/>
          <p:cNvSpPr/>
          <p:nvPr/>
        </p:nvSpPr>
        <p:spPr>
          <a:xfrm>
            <a:off x="2160238" y="1639991"/>
            <a:ext cx="1619535" cy="3564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Up to 80% of Account Value</a:t>
            </a:r>
            <a:endParaRPr lang="en-US" sz="1000" dirty="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160238" y="2209900"/>
            <a:ext cx="1619535" cy="39211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4 withdrawals per year</a:t>
            </a:r>
            <a:endParaRPr lang="en-US" sz="1000" dirty="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160239" y="2815455"/>
            <a:ext cx="1619534" cy="3921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Available after 24 months</a:t>
            </a:r>
            <a:endParaRPr lang="en-US" sz="1000" dirty="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46858" y="1639991"/>
            <a:ext cx="1544475" cy="1615982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  <a:prstDash val="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accent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8" name="Pentagon 24"/>
          <p:cNvSpPr/>
          <p:nvPr/>
        </p:nvSpPr>
        <p:spPr>
          <a:xfrm>
            <a:off x="1957159" y="2272644"/>
            <a:ext cx="138798" cy="329368"/>
          </a:xfrm>
          <a:custGeom>
            <a:avLst/>
            <a:gdLst>
              <a:gd name="connsiteX0" fmla="*/ 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0 w 822960"/>
              <a:gd name="connsiteY5" fmla="*/ 0 h 822960"/>
              <a:gd name="connsiteX0" fmla="*/ 40640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406400 w 822960"/>
              <a:gd name="connsiteY5" fmla="*/ 0 h 822960"/>
              <a:gd name="connsiteX0" fmla="*/ 0 w 416560"/>
              <a:gd name="connsiteY0" fmla="*/ 0 h 822960"/>
              <a:gd name="connsiteX1" fmla="*/ 5080 w 416560"/>
              <a:gd name="connsiteY1" fmla="*/ 0 h 822960"/>
              <a:gd name="connsiteX2" fmla="*/ 416560 w 416560"/>
              <a:gd name="connsiteY2" fmla="*/ 411480 h 822960"/>
              <a:gd name="connsiteX3" fmla="*/ 5080 w 416560"/>
              <a:gd name="connsiteY3" fmla="*/ 822960 h 822960"/>
              <a:gd name="connsiteX4" fmla="*/ 0 w 416560"/>
              <a:gd name="connsiteY4" fmla="*/ 806027 h 822960"/>
              <a:gd name="connsiteX5" fmla="*/ 0 w 416560"/>
              <a:gd name="connsiteY5" fmla="*/ 0 h 82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560" h="822960">
                <a:moveTo>
                  <a:pt x="0" y="0"/>
                </a:moveTo>
                <a:lnTo>
                  <a:pt x="5080" y="0"/>
                </a:lnTo>
                <a:lnTo>
                  <a:pt x="416560" y="411480"/>
                </a:lnTo>
                <a:lnTo>
                  <a:pt x="5080" y="822960"/>
                </a:lnTo>
                <a:lnTo>
                  <a:pt x="0" y="80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9" name="Pentagon 24"/>
          <p:cNvSpPr/>
          <p:nvPr/>
        </p:nvSpPr>
        <p:spPr>
          <a:xfrm rot="5400000">
            <a:off x="2918338" y="2017772"/>
            <a:ext cx="103333" cy="170813"/>
          </a:xfrm>
          <a:custGeom>
            <a:avLst/>
            <a:gdLst>
              <a:gd name="connsiteX0" fmla="*/ 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0 w 822960"/>
              <a:gd name="connsiteY5" fmla="*/ 0 h 822960"/>
              <a:gd name="connsiteX0" fmla="*/ 40640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406400 w 822960"/>
              <a:gd name="connsiteY5" fmla="*/ 0 h 822960"/>
              <a:gd name="connsiteX0" fmla="*/ 0 w 416560"/>
              <a:gd name="connsiteY0" fmla="*/ 0 h 822960"/>
              <a:gd name="connsiteX1" fmla="*/ 5080 w 416560"/>
              <a:gd name="connsiteY1" fmla="*/ 0 h 822960"/>
              <a:gd name="connsiteX2" fmla="*/ 416560 w 416560"/>
              <a:gd name="connsiteY2" fmla="*/ 411480 h 822960"/>
              <a:gd name="connsiteX3" fmla="*/ 5080 w 416560"/>
              <a:gd name="connsiteY3" fmla="*/ 822960 h 822960"/>
              <a:gd name="connsiteX4" fmla="*/ 0 w 416560"/>
              <a:gd name="connsiteY4" fmla="*/ 806027 h 822960"/>
              <a:gd name="connsiteX5" fmla="*/ 0 w 416560"/>
              <a:gd name="connsiteY5" fmla="*/ 0 h 82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560" h="822960">
                <a:moveTo>
                  <a:pt x="0" y="0"/>
                </a:moveTo>
                <a:lnTo>
                  <a:pt x="5080" y="0"/>
                </a:lnTo>
                <a:lnTo>
                  <a:pt x="416560" y="411480"/>
                </a:lnTo>
                <a:lnTo>
                  <a:pt x="5080" y="822960"/>
                </a:lnTo>
                <a:lnTo>
                  <a:pt x="0" y="80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0" name="Pentagon 24"/>
          <p:cNvSpPr/>
          <p:nvPr/>
        </p:nvSpPr>
        <p:spPr>
          <a:xfrm rot="5400000">
            <a:off x="2918338" y="2623327"/>
            <a:ext cx="103333" cy="170813"/>
          </a:xfrm>
          <a:custGeom>
            <a:avLst/>
            <a:gdLst>
              <a:gd name="connsiteX0" fmla="*/ 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0 w 822960"/>
              <a:gd name="connsiteY5" fmla="*/ 0 h 822960"/>
              <a:gd name="connsiteX0" fmla="*/ 40640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406400 w 822960"/>
              <a:gd name="connsiteY5" fmla="*/ 0 h 822960"/>
              <a:gd name="connsiteX0" fmla="*/ 0 w 416560"/>
              <a:gd name="connsiteY0" fmla="*/ 0 h 822960"/>
              <a:gd name="connsiteX1" fmla="*/ 5080 w 416560"/>
              <a:gd name="connsiteY1" fmla="*/ 0 h 822960"/>
              <a:gd name="connsiteX2" fmla="*/ 416560 w 416560"/>
              <a:gd name="connsiteY2" fmla="*/ 411480 h 822960"/>
              <a:gd name="connsiteX3" fmla="*/ 5080 w 416560"/>
              <a:gd name="connsiteY3" fmla="*/ 822960 h 822960"/>
              <a:gd name="connsiteX4" fmla="*/ 0 w 416560"/>
              <a:gd name="connsiteY4" fmla="*/ 806027 h 822960"/>
              <a:gd name="connsiteX5" fmla="*/ 0 w 416560"/>
              <a:gd name="connsiteY5" fmla="*/ 0 h 82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560" h="822960">
                <a:moveTo>
                  <a:pt x="0" y="0"/>
                </a:moveTo>
                <a:lnTo>
                  <a:pt x="5080" y="0"/>
                </a:lnTo>
                <a:lnTo>
                  <a:pt x="416560" y="411480"/>
                </a:lnTo>
                <a:lnTo>
                  <a:pt x="5080" y="822960"/>
                </a:lnTo>
                <a:lnTo>
                  <a:pt x="0" y="80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41" name="Group 40"/>
          <p:cNvGrpSpPr/>
          <p:nvPr/>
        </p:nvGrpSpPr>
        <p:grpSpPr>
          <a:xfrm>
            <a:off x="269157" y="1768572"/>
            <a:ext cx="1743160" cy="1293901"/>
            <a:chOff x="679557" y="1921419"/>
            <a:chExt cx="1743160" cy="1293901"/>
          </a:xfrm>
        </p:grpSpPr>
        <p:sp>
          <p:nvSpPr>
            <p:cNvPr id="42" name="Rectangle 41"/>
            <p:cNvSpPr/>
            <p:nvPr/>
          </p:nvSpPr>
          <p:spPr>
            <a:xfrm>
              <a:off x="679557" y="2938321"/>
              <a:ext cx="174316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 eaLnBrk="0" fontAlgn="base" hangingPunct="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GB" sz="1200" kern="0" dirty="0"/>
                <a:t>Partial Surrender</a:t>
              </a:r>
            </a:p>
          </p:txBody>
        </p:sp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691" y="1921419"/>
              <a:ext cx="991828" cy="991828"/>
            </a:xfrm>
            <a:prstGeom prst="rect">
              <a:avLst/>
            </a:prstGeom>
          </p:spPr>
        </p:pic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636" y="1824813"/>
            <a:ext cx="883920" cy="883920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6135695" y="1263184"/>
            <a:ext cx="256032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Arial" pitchFamily="34" charset="0"/>
                <a:cs typeface="Arial" pitchFamily="34" charset="0"/>
              </a:rPr>
              <a:t>In the event of surrender of the policy before the maturity date, a Surrender Value equal to the Account Value less the Surrender Charge will be paid (less any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indebtness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).</a:t>
            </a:r>
          </a:p>
          <a:p>
            <a:endParaRPr lang="en-US" sz="1200" dirty="0">
              <a:latin typeface="Arial" pitchFamily="34" charset="0"/>
              <a:cs typeface="Arial" pitchFamily="34" charset="0"/>
            </a:endParaRPr>
          </a:p>
          <a:p>
            <a:r>
              <a:rPr lang="en-US" sz="1200" dirty="0">
                <a:latin typeface="Arial" pitchFamily="34" charset="0"/>
                <a:cs typeface="Arial" pitchFamily="34" charset="0"/>
              </a:rPr>
              <a:t>The Surrender Charge is minimum (SC% x Annual Premium, Account Value), whichever is lower. </a:t>
            </a:r>
          </a:p>
          <a:p>
            <a:endParaRPr lang="en-US" sz="1200" dirty="0"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The total surrender of the account value means the cancellation of the policy.</a:t>
            </a:r>
          </a:p>
        </p:txBody>
      </p:sp>
      <p:sp>
        <p:nvSpPr>
          <p:cNvPr id="46" name="Rectangle 45"/>
          <p:cNvSpPr/>
          <p:nvPr/>
        </p:nvSpPr>
        <p:spPr>
          <a:xfrm>
            <a:off x="4306523" y="1639991"/>
            <a:ext cx="1544475" cy="1615982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  <a:prstDash val="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accent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7" name="Pentagon 24"/>
          <p:cNvSpPr/>
          <p:nvPr/>
        </p:nvSpPr>
        <p:spPr>
          <a:xfrm>
            <a:off x="5977784" y="2272644"/>
            <a:ext cx="138798" cy="329368"/>
          </a:xfrm>
          <a:custGeom>
            <a:avLst/>
            <a:gdLst>
              <a:gd name="connsiteX0" fmla="*/ 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0 w 822960"/>
              <a:gd name="connsiteY5" fmla="*/ 0 h 822960"/>
              <a:gd name="connsiteX0" fmla="*/ 40640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406400 w 822960"/>
              <a:gd name="connsiteY5" fmla="*/ 0 h 822960"/>
              <a:gd name="connsiteX0" fmla="*/ 0 w 416560"/>
              <a:gd name="connsiteY0" fmla="*/ 0 h 822960"/>
              <a:gd name="connsiteX1" fmla="*/ 5080 w 416560"/>
              <a:gd name="connsiteY1" fmla="*/ 0 h 822960"/>
              <a:gd name="connsiteX2" fmla="*/ 416560 w 416560"/>
              <a:gd name="connsiteY2" fmla="*/ 411480 h 822960"/>
              <a:gd name="connsiteX3" fmla="*/ 5080 w 416560"/>
              <a:gd name="connsiteY3" fmla="*/ 822960 h 822960"/>
              <a:gd name="connsiteX4" fmla="*/ 0 w 416560"/>
              <a:gd name="connsiteY4" fmla="*/ 806027 h 822960"/>
              <a:gd name="connsiteX5" fmla="*/ 0 w 416560"/>
              <a:gd name="connsiteY5" fmla="*/ 0 h 82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560" h="822960">
                <a:moveTo>
                  <a:pt x="0" y="0"/>
                </a:moveTo>
                <a:lnTo>
                  <a:pt x="5080" y="0"/>
                </a:lnTo>
                <a:lnTo>
                  <a:pt x="416560" y="411480"/>
                </a:lnTo>
                <a:lnTo>
                  <a:pt x="5080" y="822960"/>
                </a:lnTo>
                <a:lnTo>
                  <a:pt x="0" y="80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8" name="Rectangle 47"/>
          <p:cNvSpPr/>
          <p:nvPr/>
        </p:nvSpPr>
        <p:spPr>
          <a:xfrm>
            <a:off x="4228822" y="2785474"/>
            <a:ext cx="17431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eaLnBrk="0" fontAlgn="base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GB" sz="1200" kern="0" dirty="0"/>
              <a:t>Full Surrender</a:t>
            </a:r>
          </a:p>
        </p:txBody>
      </p:sp>
    </p:spTree>
    <p:extLst>
      <p:ext uri="{BB962C8B-B14F-4D97-AF65-F5344CB8AC3E}">
        <p14:creationId xmlns:p14="http://schemas.microsoft.com/office/powerpoint/2010/main" val="1646016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0A84220-826D-4064-AD8C-BF400DE23D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680796"/>
              </p:ext>
            </p:extLst>
          </p:nvPr>
        </p:nvGraphicFramePr>
        <p:xfrm>
          <a:off x="378898" y="1046743"/>
          <a:ext cx="8492548" cy="35780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8404">
                  <a:extLst>
                    <a:ext uri="{9D8B030D-6E8A-4147-A177-3AD203B41FA5}">
                      <a16:colId xmlns:a16="http://schemas.microsoft.com/office/drawing/2014/main" val="4056397357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1013602441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1573812303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290559787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2158333033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2873525306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36699622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1811161848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1056358552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1081823095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118568805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3589409313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6963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270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nd of Policy </a:t>
                      </a:r>
                      <a:br>
                        <a:rPr lang="en-GB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GB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onth</a:t>
                      </a:r>
                      <a:endParaRPr lang="en-GB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00B0F0"/>
                    </a:solidFill>
                  </a:tcPr>
                </a:tc>
                <a:tc gridSpan="16">
                  <a:txBody>
                    <a:bodyPr/>
                    <a:lstStyle/>
                    <a:p>
                      <a:pPr algn="ctr" fontAlgn="ctr"/>
                      <a:r>
                        <a:rPr lang="en-GB" sz="800" b="1" u="none" strike="noStrike" dirty="0">
                          <a:effectLst/>
                        </a:rPr>
                        <a:t>Term</a:t>
                      </a:r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GB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4756630"/>
                  </a:ext>
                </a:extLst>
              </a:tr>
              <a:tr h="1924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en-GB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en-GB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en-GB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en-GB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8</a:t>
                      </a:r>
                      <a:endParaRPr lang="en-GB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9</a:t>
                      </a:r>
                      <a:endParaRPr lang="en-GB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en-GB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18" marR="7318" marT="7318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630214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fi-FI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8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8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0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191898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0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i-FI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0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7760813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2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8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7838337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557978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6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18792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i-FI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0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210916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731537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2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8268313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4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8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174279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6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4135835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8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625348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14912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2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8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078422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4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7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6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8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9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0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8666448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6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3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5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90093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8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%</a:t>
                      </a:r>
                    </a:p>
                  </a:txBody>
                  <a:tcPr marL="6350" marR="6350" marT="635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1499463"/>
                  </a:ext>
                </a:extLst>
              </a:tr>
              <a:tr h="1832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0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mr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8283103"/>
                  </a:ext>
                </a:extLst>
              </a:tr>
            </a:tbl>
          </a:graphicData>
        </a:graphic>
      </p:graphicFrame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12</a:t>
            </a:r>
          </a:p>
        </p:txBody>
      </p:sp>
      <p:sp>
        <p:nvSpPr>
          <p:cNvPr id="58" name="Title 8"/>
          <p:cNvSpPr txBox="1">
            <a:spLocks/>
          </p:cNvSpPr>
          <p:nvPr/>
        </p:nvSpPr>
        <p:spPr>
          <a:xfrm>
            <a:off x="269157" y="153621"/>
            <a:ext cx="6944443" cy="49346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Liquidity </a:t>
            </a:r>
            <a:r>
              <a:rPr lang="mr-IN" dirty="0"/>
              <a:t>–</a:t>
            </a:r>
            <a:r>
              <a:rPr lang="en-US" dirty="0"/>
              <a:t> Full Surrender</a:t>
            </a:r>
          </a:p>
        </p:txBody>
      </p:sp>
      <p:sp>
        <p:nvSpPr>
          <p:cNvPr id="5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77548" y="592648"/>
            <a:ext cx="8438889" cy="359300"/>
          </a:xfrm>
        </p:spPr>
        <p:txBody>
          <a:bodyPr/>
          <a:lstStyle/>
          <a:p>
            <a:r>
              <a:rPr lang="en-US" dirty="0"/>
              <a:t>Surrender Charge %AV</a:t>
            </a:r>
          </a:p>
        </p:txBody>
      </p:sp>
    </p:spTree>
    <p:extLst>
      <p:ext uri="{BB962C8B-B14F-4D97-AF65-F5344CB8AC3E}">
        <p14:creationId xmlns:p14="http://schemas.microsoft.com/office/powerpoint/2010/main" val="2393963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g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794573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67002" y="2596638"/>
            <a:ext cx="6948752" cy="29747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latin typeface="Arial" pitchFamily="34" charset="0"/>
                <a:cs typeface="Arial" pitchFamily="34" charset="0"/>
              </a:rPr>
              <a:t>Attractive and competitive charge structure</a:t>
            </a:r>
          </a:p>
        </p:txBody>
      </p:sp>
    </p:spTree>
    <p:extLst>
      <p:ext uri="{BB962C8B-B14F-4D97-AF65-F5344CB8AC3E}">
        <p14:creationId xmlns:p14="http://schemas.microsoft.com/office/powerpoint/2010/main" val="21447235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8" name="Title 8"/>
          <p:cNvSpPr txBox="1">
            <a:spLocks/>
          </p:cNvSpPr>
          <p:nvPr/>
        </p:nvSpPr>
        <p:spPr>
          <a:xfrm>
            <a:off x="269157" y="153621"/>
            <a:ext cx="6944443" cy="49346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/>
              <a:t>Charges</a:t>
            </a:r>
            <a:endParaRPr lang="en-US" dirty="0"/>
          </a:p>
        </p:txBody>
      </p: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05A71C0F-051B-4DDD-85A1-146C39CBAA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220181"/>
              </p:ext>
            </p:extLst>
          </p:nvPr>
        </p:nvGraphicFramePr>
        <p:xfrm>
          <a:off x="355802" y="736600"/>
          <a:ext cx="6298998" cy="9645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11094">
                  <a:extLst>
                    <a:ext uri="{9D8B030D-6E8A-4147-A177-3AD203B41FA5}">
                      <a16:colId xmlns:a16="http://schemas.microsoft.com/office/drawing/2014/main" val="3715344712"/>
                    </a:ext>
                  </a:extLst>
                </a:gridCol>
                <a:gridCol w="2500801">
                  <a:extLst>
                    <a:ext uri="{9D8B030D-6E8A-4147-A177-3AD203B41FA5}">
                      <a16:colId xmlns:a16="http://schemas.microsoft.com/office/drawing/2014/main" val="2118126867"/>
                    </a:ext>
                  </a:extLst>
                </a:gridCol>
                <a:gridCol w="2487103">
                  <a:extLst>
                    <a:ext uri="{9D8B030D-6E8A-4147-A177-3AD203B41FA5}">
                      <a16:colId xmlns:a16="http://schemas.microsoft.com/office/drawing/2014/main" val="3750976764"/>
                    </a:ext>
                  </a:extLst>
                </a:gridCol>
              </a:tblGrid>
              <a:tr h="248920">
                <a:tc gridSpan="3">
                  <a:txBody>
                    <a:bodyPr/>
                    <a:lstStyle/>
                    <a:p>
                      <a:pPr marL="0" marR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+mj-lt"/>
                        <a:buNone/>
                        <a:tabLst>
                          <a:tab pos="685800" algn="l"/>
                        </a:tabLst>
                      </a:pPr>
                      <a:r>
                        <a:rPr lang="en-US" sz="1000" dirty="0">
                          <a:effectLst/>
                        </a:rPr>
                        <a:t>Premium Charge</a:t>
                      </a:r>
                      <a:endParaRPr lang="en-GB" sz="1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2997845"/>
                  </a:ext>
                </a:extLst>
              </a:tr>
              <a:tr h="19748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Premium Term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Year 1 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Year 2 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1993680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5-9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11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11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65988835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10-14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23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23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44612737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15-19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32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32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56447118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20+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4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4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49412637"/>
                  </a:ext>
                </a:extLst>
              </a:tr>
            </a:tbl>
          </a:graphicData>
        </a:graphic>
      </p:graphicFrame>
      <p:graphicFrame>
        <p:nvGraphicFramePr>
          <p:cNvPr id="60" name="Table 59">
            <a:extLst>
              <a:ext uri="{FF2B5EF4-FFF2-40B4-BE49-F238E27FC236}">
                <a16:creationId xmlns:a16="http://schemas.microsoft.com/office/drawing/2014/main" id="{F49756B1-F448-4A37-B165-1C4F485B2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5258377"/>
              </p:ext>
            </p:extLst>
          </p:nvPr>
        </p:nvGraphicFramePr>
        <p:xfrm>
          <a:off x="355803" y="1901190"/>
          <a:ext cx="6288837" cy="9582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90117">
                  <a:extLst>
                    <a:ext uri="{9D8B030D-6E8A-4147-A177-3AD203B41FA5}">
                      <a16:colId xmlns:a16="http://schemas.microsoft.com/office/drawing/2014/main" val="560365658"/>
                    </a:ext>
                  </a:extLst>
                </a:gridCol>
                <a:gridCol w="2529840">
                  <a:extLst>
                    <a:ext uri="{9D8B030D-6E8A-4147-A177-3AD203B41FA5}">
                      <a16:colId xmlns:a16="http://schemas.microsoft.com/office/drawing/2014/main" val="2928756574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242254092"/>
                    </a:ext>
                  </a:extLst>
                </a:gridCol>
              </a:tblGrid>
              <a:tr h="242570">
                <a:tc gridSpan="3">
                  <a:txBody>
                    <a:bodyPr/>
                    <a:lstStyle/>
                    <a:p>
                      <a:pPr marL="0" marR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100"/>
                        <a:buFont typeface="+mj-lt"/>
                        <a:buNone/>
                        <a:tabLst>
                          <a:tab pos="685800" algn="l"/>
                        </a:tabLst>
                      </a:pPr>
                      <a:r>
                        <a:rPr lang="en-US" sz="1000" dirty="0">
                          <a:effectLst/>
                        </a:rPr>
                        <a:t>Premium Load</a:t>
                      </a:r>
                      <a:endParaRPr lang="en-GB" sz="1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7225492"/>
                  </a:ext>
                </a:extLst>
              </a:tr>
              <a:tr h="19748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Premium Term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Year 1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Year 2+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0744135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5-9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2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22991065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10-14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2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99714902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15-19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2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13962433"/>
                  </a:ext>
                </a:extLst>
              </a:tr>
              <a:tr h="12954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20+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2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92096248"/>
                  </a:ext>
                </a:extLst>
              </a:tr>
            </a:tbl>
          </a:graphicData>
        </a:graphic>
      </p:graphicFrame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E203F986-96FC-4D71-BEAA-84F612832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5090053"/>
              </p:ext>
            </p:extLst>
          </p:nvPr>
        </p:nvGraphicFramePr>
        <p:xfrm>
          <a:off x="355802" y="3065780"/>
          <a:ext cx="6278678" cy="7254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9948">
                  <a:extLst>
                    <a:ext uri="{9D8B030D-6E8A-4147-A177-3AD203B41FA5}">
                      <a16:colId xmlns:a16="http://schemas.microsoft.com/office/drawing/2014/main" val="2915358544"/>
                    </a:ext>
                  </a:extLst>
                </a:gridCol>
                <a:gridCol w="1337770">
                  <a:extLst>
                    <a:ext uri="{9D8B030D-6E8A-4147-A177-3AD203B41FA5}">
                      <a16:colId xmlns:a16="http://schemas.microsoft.com/office/drawing/2014/main" val="2540106235"/>
                    </a:ext>
                  </a:extLst>
                </a:gridCol>
                <a:gridCol w="1869440">
                  <a:extLst>
                    <a:ext uri="{9D8B030D-6E8A-4147-A177-3AD203B41FA5}">
                      <a16:colId xmlns:a16="http://schemas.microsoft.com/office/drawing/2014/main" val="16106859"/>
                    </a:ext>
                  </a:extLst>
                </a:gridCol>
                <a:gridCol w="2001520">
                  <a:extLst>
                    <a:ext uri="{9D8B030D-6E8A-4147-A177-3AD203B41FA5}">
                      <a16:colId xmlns:a16="http://schemas.microsoft.com/office/drawing/2014/main" val="2757637172"/>
                    </a:ext>
                  </a:extLst>
                </a:gridCol>
              </a:tblGrid>
              <a:tr h="256540">
                <a:tc gridSpan="4"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anagement and Expense Charge (Annual)</a:t>
                      </a:r>
                      <a:endParaRPr lang="en-GB" sz="1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2958822"/>
                  </a:ext>
                </a:extLst>
              </a:tr>
              <a:tr h="22626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Policy Year</a:t>
                      </a:r>
                      <a:endParaRPr lang="en-GB" sz="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Account Value &lt;$25K </a:t>
                      </a:r>
                      <a:endParaRPr lang="en-GB" sz="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$25K&lt; = Account Value &lt;$100K</a:t>
                      </a:r>
                      <a:endParaRPr lang="en-GB" sz="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Account Value&gt; = $100K</a:t>
                      </a:r>
                      <a:endParaRPr lang="en-GB" sz="8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66297291"/>
                  </a:ext>
                </a:extLst>
              </a:tr>
              <a:tr h="24263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All Years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06705" algn="dec"/>
                        </a:tabLst>
                      </a:pPr>
                      <a:r>
                        <a:rPr lang="en-US" sz="800" dirty="0">
                          <a:effectLst/>
                        </a:rPr>
                        <a:t>1.7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06705" algn="dec"/>
                        </a:tabLst>
                      </a:pPr>
                      <a:r>
                        <a:rPr lang="en-US" sz="800" dirty="0">
                          <a:effectLst/>
                        </a:rPr>
                        <a:t>1.2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06705" algn="dec"/>
                        </a:tabLst>
                      </a:pPr>
                      <a:r>
                        <a:rPr lang="en-US" sz="800" dirty="0">
                          <a:effectLst/>
                        </a:rPr>
                        <a:t>0.80%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81512271"/>
                  </a:ext>
                </a:extLst>
              </a:tr>
            </a:tbl>
          </a:graphicData>
        </a:graphic>
      </p:graphicFrame>
      <p:sp>
        <p:nvSpPr>
          <p:cNvPr id="62" name="Text Placeholder 1"/>
          <p:cNvSpPr txBox="1">
            <a:spLocks/>
          </p:cNvSpPr>
          <p:nvPr/>
        </p:nvSpPr>
        <p:spPr>
          <a:xfrm>
            <a:off x="269157" y="3997599"/>
            <a:ext cx="4051658" cy="318044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4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30969" indent="-126206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2419" indent="-17145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8625" indent="-1321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0785" indent="-1702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80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Policy Fee: </a:t>
            </a:r>
            <a:br>
              <a:rPr lang="en-US" sz="800" i="1" dirty="0"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80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A policy fee of USD 10 per month (USD 120 annually) will be deducted from the Account Value throughout the policy duration</a:t>
            </a:r>
            <a:endParaRPr lang="en-GB" sz="800" i="1" dirty="0"/>
          </a:p>
        </p:txBody>
      </p:sp>
    </p:spTree>
    <p:extLst>
      <p:ext uri="{BB962C8B-B14F-4D97-AF65-F5344CB8AC3E}">
        <p14:creationId xmlns:p14="http://schemas.microsoft.com/office/powerpoint/2010/main" val="19333191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8" name="Title 8"/>
          <p:cNvSpPr txBox="1">
            <a:spLocks/>
          </p:cNvSpPr>
          <p:nvPr/>
        </p:nvSpPr>
        <p:spPr>
          <a:xfrm>
            <a:off x="269157" y="153621"/>
            <a:ext cx="6944443" cy="49346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Example - Regular Savings Pla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BD5D5CE-A560-4CE4-A1D5-B582B5AB58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9707950"/>
              </p:ext>
            </p:extLst>
          </p:nvPr>
        </p:nvGraphicFramePr>
        <p:xfrm>
          <a:off x="2549994" y="812551"/>
          <a:ext cx="4688923" cy="3567859"/>
        </p:xfrm>
        <a:graphic>
          <a:graphicData uri="http://schemas.openxmlformats.org/drawingml/2006/table">
            <a:tbl>
              <a:tblPr/>
              <a:tblGrid>
                <a:gridCol w="675724">
                  <a:extLst>
                    <a:ext uri="{9D8B030D-6E8A-4147-A177-3AD203B41FA5}">
                      <a16:colId xmlns:a16="http://schemas.microsoft.com/office/drawing/2014/main" val="1572441111"/>
                    </a:ext>
                  </a:extLst>
                </a:gridCol>
                <a:gridCol w="1518581">
                  <a:extLst>
                    <a:ext uri="{9D8B030D-6E8A-4147-A177-3AD203B41FA5}">
                      <a16:colId xmlns:a16="http://schemas.microsoft.com/office/drawing/2014/main" val="647539406"/>
                    </a:ext>
                  </a:extLst>
                </a:gridCol>
                <a:gridCol w="585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12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77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2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REGULAR SAVINGS PLAN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20" marR="45720" marT="27432" marB="27432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90386"/>
                  </a:ext>
                </a:extLst>
              </a:tr>
              <a:tr h="3493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ccount Value*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0D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ash Value*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5968">
                <a:tc row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ue to Custome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ustomer Value</a:t>
                      </a:r>
                      <a:endParaRPr lang="en-US" sz="8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1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0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969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 7,489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9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22,23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 19,238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76149"/>
                  </a:ext>
                </a:extLst>
              </a:tr>
              <a:tr h="1659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3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426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 33,746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378194"/>
                  </a:ext>
                </a:extLst>
              </a:tr>
              <a:tr h="1659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49,27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 49,15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8154598"/>
                  </a:ext>
                </a:extLst>
              </a:tr>
              <a:tr h="1659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3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13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63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813</a:t>
                      </a:r>
                      <a:r>
                        <a:rPr lang="cs-C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6735557"/>
                  </a:ext>
                </a:extLst>
              </a:tr>
              <a:tr h="165968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/>
                      <a:endParaRPr lang="en-US" sz="10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130,00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130,004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968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165,241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165,241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94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751576"/>
                  </a:ext>
                </a:extLst>
              </a:tr>
              <a:tr h="165968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ees &amp;</a:t>
                      </a:r>
                      <a:b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rges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mium</a:t>
                      </a:r>
                      <a:b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rge</a:t>
                      </a:r>
                      <a:endParaRPr lang="en-US" sz="8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-2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117155"/>
                  </a:ext>
                </a:extLst>
              </a:tr>
              <a:tr h="1659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+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631831"/>
                  </a:ext>
                </a:extLst>
              </a:tr>
              <a:tr h="434441">
                <a:tc vMerge="1">
                  <a:txBody>
                    <a:bodyPr/>
                    <a:lstStyle/>
                    <a:p>
                      <a:pPr algn="l" rtl="0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9523" marR="9523" marT="952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0D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ual</a:t>
                      </a:r>
                      <a:b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&amp;E Charge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ll Years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&lt;25k – 1.70%</a:t>
                      </a:r>
                    </a:p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k&lt;AV&lt;100k - 1.20%</a:t>
                      </a:r>
                    </a:p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&gt;=100k - 0.80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0943016"/>
                  </a:ext>
                </a:extLst>
              </a:tr>
              <a:tr h="3002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onthly</a:t>
                      </a:r>
                      <a:b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dmin Fee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All Year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0 per month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1321896"/>
                  </a:ext>
                </a:extLst>
              </a:tr>
              <a:tr h="2281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emium Load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37350" marR="37350" marT="14940" marB="149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1499292"/>
                  </a:ext>
                </a:extLst>
              </a:tr>
              <a:tr h="1713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+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5335026"/>
                  </a:ext>
                </a:extLst>
              </a:tr>
              <a:tr h="1294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563040"/>
                  </a:ext>
                </a:extLst>
              </a:tr>
              <a:tr h="1294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1394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77826" y="2509076"/>
            <a:ext cx="190524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25 y/o, Male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$6000 Semi-annual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u="sng" kern="0" spc="-20" dirty="0">
                <a:solidFill>
                  <a:srgbClr val="000000"/>
                </a:solidFill>
                <a:cs typeface="Open Sans Bold"/>
              </a:rPr>
              <a:t>5 year Premium term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5% growth</a:t>
            </a:r>
          </a:p>
        </p:txBody>
      </p:sp>
      <p:sp>
        <p:nvSpPr>
          <p:cNvPr id="62" name="Text Placeholder 1"/>
          <p:cNvSpPr txBox="1">
            <a:spLocks/>
          </p:cNvSpPr>
          <p:nvPr/>
        </p:nvSpPr>
        <p:spPr>
          <a:xfrm>
            <a:off x="2477423" y="4203763"/>
            <a:ext cx="4480726" cy="318044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4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30969" indent="-126206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2419" indent="-17145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8625" indent="-1321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0785" indent="-1702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*The Account and Cash Values illustrated above do not include the Annual M&amp;E charge.</a:t>
            </a:r>
            <a:b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** The Account and Cash Values mentioned above are for illustrative purpose only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77548" y="592648"/>
            <a:ext cx="8438889" cy="359300"/>
          </a:xfrm>
        </p:spPr>
        <p:txBody>
          <a:bodyPr/>
          <a:lstStyle/>
          <a:p>
            <a:r>
              <a:rPr lang="en-US"/>
              <a:t>5 year </a:t>
            </a:r>
            <a:r>
              <a:rPr lang="en-US" dirty="0"/>
              <a:t>Premium term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747" y="1728498"/>
            <a:ext cx="829056" cy="82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094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What is Regular Savings Pla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4848" y="878830"/>
            <a:ext cx="6948752" cy="29747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A regular savings and investment Product that can be customized as per the client’s needs and offering them the following: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713557" y="1678606"/>
            <a:ext cx="829056" cy="1136242"/>
            <a:chOff x="3700950" y="3953786"/>
            <a:chExt cx="829056" cy="1136242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26739" y="3953786"/>
              <a:ext cx="368300" cy="368300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0950" y="4260972"/>
              <a:ext cx="829056" cy="829056"/>
            </a:xfrm>
            <a:prstGeom prst="rect">
              <a:avLst/>
            </a:prstGeom>
          </p:spPr>
        </p:pic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51" y="1985792"/>
            <a:ext cx="826008" cy="829056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B5EBF141-E4D0-4E3B-A122-86EF7F51964B}"/>
              </a:ext>
            </a:extLst>
          </p:cNvPr>
          <p:cNvGrpSpPr>
            <a:grpSpLocks noChangeAspect="1"/>
          </p:cNvGrpSpPr>
          <p:nvPr/>
        </p:nvGrpSpPr>
        <p:grpSpPr>
          <a:xfrm>
            <a:off x="6595079" y="2102993"/>
            <a:ext cx="615335" cy="619960"/>
            <a:chOff x="1955800" y="2979737"/>
            <a:chExt cx="211138" cy="212725"/>
          </a:xfrm>
        </p:grpSpPr>
        <p:sp>
          <p:nvSpPr>
            <p:cNvPr id="14" name="Freeform 245">
              <a:extLst>
                <a:ext uri="{FF2B5EF4-FFF2-40B4-BE49-F238E27FC236}">
                  <a16:creationId xmlns:a16="http://schemas.microsoft.com/office/drawing/2014/main" id="{352530CA-F03C-4B13-B30C-AB6C5CE18D5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955006" y="2980531"/>
              <a:ext cx="212725" cy="211138"/>
            </a:xfrm>
            <a:custGeom>
              <a:avLst/>
              <a:gdLst>
                <a:gd name="T0" fmla="*/ 204 w 408"/>
                <a:gd name="T1" fmla="*/ 0 h 406"/>
                <a:gd name="T2" fmla="*/ 408 w 408"/>
                <a:gd name="T3" fmla="*/ 204 h 406"/>
                <a:gd name="T4" fmla="*/ 204 w 408"/>
                <a:gd name="T5" fmla="*/ 406 h 406"/>
                <a:gd name="T6" fmla="*/ 0 w 408"/>
                <a:gd name="T7" fmla="*/ 204 h 406"/>
                <a:gd name="T8" fmla="*/ 204 w 408"/>
                <a:gd name="T9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8" h="406">
                  <a:moveTo>
                    <a:pt x="204" y="0"/>
                  </a:moveTo>
                  <a:cubicBezTo>
                    <a:pt x="316" y="0"/>
                    <a:pt x="408" y="90"/>
                    <a:pt x="408" y="204"/>
                  </a:cubicBezTo>
                  <a:cubicBezTo>
                    <a:pt x="408" y="316"/>
                    <a:pt x="316" y="406"/>
                    <a:pt x="204" y="406"/>
                  </a:cubicBezTo>
                  <a:cubicBezTo>
                    <a:pt x="90" y="406"/>
                    <a:pt x="0" y="316"/>
                    <a:pt x="0" y="204"/>
                  </a:cubicBezTo>
                  <a:cubicBezTo>
                    <a:pt x="0" y="90"/>
                    <a:pt x="90" y="0"/>
                    <a:pt x="204" y="0"/>
                  </a:cubicBezTo>
                  <a:close/>
                </a:path>
              </a:pathLst>
            </a:custGeom>
            <a:solidFill>
              <a:srgbClr val="228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46">
              <a:extLst>
                <a:ext uri="{FF2B5EF4-FFF2-40B4-BE49-F238E27FC236}">
                  <a16:creationId xmlns:a16="http://schemas.microsoft.com/office/drawing/2014/main" id="{A3350D5E-C7B3-4D9E-BC0A-722D2E67A9F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986756" y="3012281"/>
              <a:ext cx="149225" cy="147638"/>
            </a:xfrm>
            <a:custGeom>
              <a:avLst/>
              <a:gdLst>
                <a:gd name="T0" fmla="*/ 144 w 288"/>
                <a:gd name="T1" fmla="*/ 0 h 286"/>
                <a:gd name="T2" fmla="*/ 288 w 288"/>
                <a:gd name="T3" fmla="*/ 144 h 286"/>
                <a:gd name="T4" fmla="*/ 144 w 288"/>
                <a:gd name="T5" fmla="*/ 286 h 286"/>
                <a:gd name="T6" fmla="*/ 0 w 288"/>
                <a:gd name="T7" fmla="*/ 144 h 286"/>
                <a:gd name="T8" fmla="*/ 144 w 288"/>
                <a:gd name="T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286">
                  <a:moveTo>
                    <a:pt x="144" y="0"/>
                  </a:moveTo>
                  <a:cubicBezTo>
                    <a:pt x="222" y="0"/>
                    <a:pt x="288" y="64"/>
                    <a:pt x="288" y="144"/>
                  </a:cubicBezTo>
                  <a:cubicBezTo>
                    <a:pt x="288" y="222"/>
                    <a:pt x="222" y="286"/>
                    <a:pt x="144" y="286"/>
                  </a:cubicBezTo>
                  <a:cubicBezTo>
                    <a:pt x="64" y="286"/>
                    <a:pt x="0" y="222"/>
                    <a:pt x="0" y="144"/>
                  </a:cubicBezTo>
                  <a:cubicBezTo>
                    <a:pt x="0" y="64"/>
                    <a:pt x="64" y="0"/>
                    <a:pt x="144" y="0"/>
                  </a:cubicBezTo>
                  <a:close/>
                </a:path>
              </a:pathLst>
            </a:custGeom>
            <a:solidFill>
              <a:srgbClr val="006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47">
              <a:extLst>
                <a:ext uri="{FF2B5EF4-FFF2-40B4-BE49-F238E27FC236}">
                  <a16:creationId xmlns:a16="http://schemas.microsoft.com/office/drawing/2014/main" id="{9F325C91-AAB5-4E25-BDBF-EE28B5A2007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022475" y="3054350"/>
              <a:ext cx="53975" cy="25400"/>
            </a:xfrm>
            <a:custGeom>
              <a:avLst/>
              <a:gdLst>
                <a:gd name="T0" fmla="*/ 22 w 104"/>
                <a:gd name="T1" fmla="*/ 10 h 48"/>
                <a:gd name="T2" fmla="*/ 62 w 104"/>
                <a:gd name="T3" fmla="*/ 48 h 48"/>
                <a:gd name="T4" fmla="*/ 100 w 104"/>
                <a:gd name="T5" fmla="*/ 14 h 48"/>
                <a:gd name="T6" fmla="*/ 104 w 104"/>
                <a:gd name="T7" fmla="*/ 0 h 48"/>
                <a:gd name="T8" fmla="*/ 76 w 104"/>
                <a:gd name="T9" fmla="*/ 0 h 48"/>
                <a:gd name="T10" fmla="*/ 74 w 104"/>
                <a:gd name="T11" fmla="*/ 8 h 48"/>
                <a:gd name="T12" fmla="*/ 60 w 104"/>
                <a:gd name="T13" fmla="*/ 22 h 48"/>
                <a:gd name="T14" fmla="*/ 44 w 104"/>
                <a:gd name="T15" fmla="*/ 2 h 48"/>
                <a:gd name="T16" fmla="*/ 44 w 104"/>
                <a:gd name="T17" fmla="*/ 0 h 48"/>
                <a:gd name="T18" fmla="*/ 0 w 104"/>
                <a:gd name="T19" fmla="*/ 0 h 48"/>
                <a:gd name="T20" fmla="*/ 0 w 104"/>
                <a:gd name="T21" fmla="*/ 10 h 48"/>
                <a:gd name="T22" fmla="*/ 22 w 104"/>
                <a:gd name="T23" fmla="*/ 1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" h="48">
                  <a:moveTo>
                    <a:pt x="22" y="10"/>
                  </a:moveTo>
                  <a:cubicBezTo>
                    <a:pt x="26" y="32"/>
                    <a:pt x="40" y="48"/>
                    <a:pt x="62" y="48"/>
                  </a:cubicBezTo>
                  <a:cubicBezTo>
                    <a:pt x="82" y="48"/>
                    <a:pt x="96" y="36"/>
                    <a:pt x="100" y="14"/>
                  </a:cubicBezTo>
                  <a:lnTo>
                    <a:pt x="104" y="0"/>
                  </a:lnTo>
                  <a:lnTo>
                    <a:pt x="76" y="0"/>
                  </a:lnTo>
                  <a:lnTo>
                    <a:pt x="74" y="8"/>
                  </a:lnTo>
                  <a:cubicBezTo>
                    <a:pt x="72" y="18"/>
                    <a:pt x="66" y="22"/>
                    <a:pt x="60" y="22"/>
                  </a:cubicBezTo>
                  <a:cubicBezTo>
                    <a:pt x="52" y="22"/>
                    <a:pt x="44" y="14"/>
                    <a:pt x="44" y="2"/>
                  </a:cubicBezTo>
                  <a:lnTo>
                    <a:pt x="4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2" y="10"/>
                  </a:lnTo>
                  <a:close/>
                </a:path>
              </a:pathLst>
            </a:custGeom>
            <a:solidFill>
              <a:srgbClr val="A4C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48">
              <a:extLst>
                <a:ext uri="{FF2B5EF4-FFF2-40B4-BE49-F238E27FC236}">
                  <a16:creationId xmlns:a16="http://schemas.microsoft.com/office/drawing/2014/main" id="{143874EC-5EB7-4B6F-918D-42AB45FABA4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029619" y="3101181"/>
              <a:ext cx="36513" cy="28575"/>
            </a:xfrm>
            <a:custGeom>
              <a:avLst/>
              <a:gdLst>
                <a:gd name="T0" fmla="*/ 24 w 68"/>
                <a:gd name="T1" fmla="*/ 0 h 54"/>
                <a:gd name="T2" fmla="*/ 0 w 68"/>
                <a:gd name="T3" fmla="*/ 28 h 54"/>
                <a:gd name="T4" fmla="*/ 6 w 68"/>
                <a:gd name="T5" fmla="*/ 54 h 54"/>
                <a:gd name="T6" fmla="*/ 46 w 68"/>
                <a:gd name="T7" fmla="*/ 10 h 54"/>
                <a:gd name="T8" fmla="*/ 68 w 68"/>
                <a:gd name="T9" fmla="*/ 10 h 54"/>
                <a:gd name="T10" fmla="*/ 68 w 68"/>
                <a:gd name="T11" fmla="*/ 0 h 54"/>
                <a:gd name="T12" fmla="*/ 24 w 68"/>
                <a:gd name="T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54">
                  <a:moveTo>
                    <a:pt x="24" y="0"/>
                  </a:moveTo>
                  <a:cubicBezTo>
                    <a:pt x="24" y="20"/>
                    <a:pt x="12" y="28"/>
                    <a:pt x="0" y="28"/>
                  </a:cubicBezTo>
                  <a:lnTo>
                    <a:pt x="6" y="54"/>
                  </a:lnTo>
                  <a:cubicBezTo>
                    <a:pt x="22" y="52"/>
                    <a:pt x="42" y="38"/>
                    <a:pt x="46" y="10"/>
                  </a:cubicBezTo>
                  <a:lnTo>
                    <a:pt x="68" y="10"/>
                  </a:lnTo>
                  <a:lnTo>
                    <a:pt x="68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A4C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9">
              <a:extLst>
                <a:ext uri="{FF2B5EF4-FFF2-40B4-BE49-F238E27FC236}">
                  <a16:creationId xmlns:a16="http://schemas.microsoft.com/office/drawing/2014/main" id="{F707EC45-63BC-42DB-A7F9-CA5DA4FBF5E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047081" y="3094831"/>
              <a:ext cx="53975" cy="23813"/>
            </a:xfrm>
            <a:custGeom>
              <a:avLst/>
              <a:gdLst>
                <a:gd name="T0" fmla="*/ 28 w 102"/>
                <a:gd name="T1" fmla="*/ 42 h 48"/>
                <a:gd name="T2" fmla="*/ 42 w 102"/>
                <a:gd name="T3" fmla="*/ 28 h 48"/>
                <a:gd name="T4" fmla="*/ 58 w 102"/>
                <a:gd name="T5" fmla="*/ 48 h 48"/>
                <a:gd name="T6" fmla="*/ 102 w 102"/>
                <a:gd name="T7" fmla="*/ 48 h 48"/>
                <a:gd name="T8" fmla="*/ 102 w 102"/>
                <a:gd name="T9" fmla="*/ 38 h 48"/>
                <a:gd name="T10" fmla="*/ 80 w 102"/>
                <a:gd name="T11" fmla="*/ 38 h 48"/>
                <a:gd name="T12" fmla="*/ 42 w 102"/>
                <a:gd name="T13" fmla="*/ 0 h 48"/>
                <a:gd name="T14" fmla="*/ 2 w 102"/>
                <a:gd name="T15" fmla="*/ 38 h 48"/>
                <a:gd name="T16" fmla="*/ 0 w 102"/>
                <a:gd name="T17" fmla="*/ 48 h 48"/>
                <a:gd name="T18" fmla="*/ 28 w 102"/>
                <a:gd name="T19" fmla="*/ 48 h 48"/>
                <a:gd name="T20" fmla="*/ 28 w 102"/>
                <a:gd name="T21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" h="48">
                  <a:moveTo>
                    <a:pt x="28" y="42"/>
                  </a:moveTo>
                  <a:cubicBezTo>
                    <a:pt x="30" y="32"/>
                    <a:pt x="36" y="28"/>
                    <a:pt x="42" y="28"/>
                  </a:cubicBezTo>
                  <a:cubicBezTo>
                    <a:pt x="52" y="28"/>
                    <a:pt x="58" y="36"/>
                    <a:pt x="58" y="48"/>
                  </a:cubicBezTo>
                  <a:lnTo>
                    <a:pt x="102" y="48"/>
                  </a:lnTo>
                  <a:lnTo>
                    <a:pt x="102" y="38"/>
                  </a:lnTo>
                  <a:lnTo>
                    <a:pt x="80" y="38"/>
                  </a:lnTo>
                  <a:cubicBezTo>
                    <a:pt x="76" y="14"/>
                    <a:pt x="60" y="0"/>
                    <a:pt x="42" y="0"/>
                  </a:cubicBezTo>
                  <a:cubicBezTo>
                    <a:pt x="22" y="0"/>
                    <a:pt x="8" y="12"/>
                    <a:pt x="2" y="38"/>
                  </a:cubicBezTo>
                  <a:lnTo>
                    <a:pt x="0" y="48"/>
                  </a:lnTo>
                  <a:lnTo>
                    <a:pt x="28" y="48"/>
                  </a:lnTo>
                  <a:lnTo>
                    <a:pt x="28" y="42"/>
                  </a:lnTo>
                  <a:close/>
                </a:path>
              </a:pathLst>
            </a:custGeom>
            <a:solidFill>
              <a:srgbClr val="A4C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50">
              <a:extLst>
                <a:ext uri="{FF2B5EF4-FFF2-40B4-BE49-F238E27FC236}">
                  <a16:creationId xmlns:a16="http://schemas.microsoft.com/office/drawing/2014/main" id="{CDAFA41C-0E79-4355-8E16-7C06E258ACF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057400" y="3044825"/>
              <a:ext cx="33338" cy="23813"/>
            </a:xfrm>
            <a:custGeom>
              <a:avLst/>
              <a:gdLst>
                <a:gd name="T0" fmla="*/ 64 w 64"/>
                <a:gd name="T1" fmla="*/ 24 h 46"/>
                <a:gd name="T2" fmla="*/ 56 w 64"/>
                <a:gd name="T3" fmla="*/ 0 h 46"/>
                <a:gd name="T4" fmla="*/ 22 w 64"/>
                <a:gd name="T5" fmla="*/ 36 h 46"/>
                <a:gd name="T6" fmla="*/ 0 w 64"/>
                <a:gd name="T7" fmla="*/ 36 h 46"/>
                <a:gd name="T8" fmla="*/ 0 w 64"/>
                <a:gd name="T9" fmla="*/ 46 h 46"/>
                <a:gd name="T10" fmla="*/ 44 w 64"/>
                <a:gd name="T11" fmla="*/ 46 h 46"/>
                <a:gd name="T12" fmla="*/ 64 w 64"/>
                <a:gd name="T13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6">
                  <a:moveTo>
                    <a:pt x="64" y="24"/>
                  </a:moveTo>
                  <a:lnTo>
                    <a:pt x="56" y="0"/>
                  </a:lnTo>
                  <a:cubicBezTo>
                    <a:pt x="42" y="2"/>
                    <a:pt x="26" y="12"/>
                    <a:pt x="22" y="36"/>
                  </a:cubicBezTo>
                  <a:lnTo>
                    <a:pt x="0" y="36"/>
                  </a:lnTo>
                  <a:lnTo>
                    <a:pt x="0" y="46"/>
                  </a:lnTo>
                  <a:lnTo>
                    <a:pt x="44" y="46"/>
                  </a:lnTo>
                  <a:cubicBezTo>
                    <a:pt x="46" y="32"/>
                    <a:pt x="56" y="26"/>
                    <a:pt x="64" y="24"/>
                  </a:cubicBezTo>
                  <a:close/>
                </a:path>
              </a:pathLst>
            </a:custGeom>
            <a:solidFill>
              <a:srgbClr val="A4CF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Rectangle 19"/>
          <p:cNvSpPr/>
          <p:nvPr/>
        </p:nvSpPr>
        <p:spPr>
          <a:xfrm>
            <a:off x="617275" y="2814848"/>
            <a:ext cx="1743160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eaLnBrk="0" fontAlgn="base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600" b="1" dirty="0"/>
              <a:t>Flexibility </a:t>
            </a:r>
          </a:p>
          <a:p>
            <a:pPr algn="ctr" defTabSz="914400" eaLnBrk="0" fontAlgn="base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600" dirty="0"/>
              <a:t>Customizable Objective linked Savings Plan</a:t>
            </a:r>
            <a:endParaRPr lang="en-GB" sz="1500" kern="0" dirty="0"/>
          </a:p>
        </p:txBody>
      </p:sp>
      <p:sp>
        <p:nvSpPr>
          <p:cNvPr id="21" name="Rectangle 20"/>
          <p:cNvSpPr/>
          <p:nvPr/>
        </p:nvSpPr>
        <p:spPr>
          <a:xfrm>
            <a:off x="3256505" y="2829719"/>
            <a:ext cx="1743160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eaLnBrk="0" fontAlgn="base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600" b="1" dirty="0"/>
              <a:t>Liquidity</a:t>
            </a:r>
          </a:p>
          <a:p>
            <a:pPr algn="ctr" defTabSz="914400" eaLnBrk="0" fontAlgn="base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600" dirty="0"/>
              <a:t>Partial withdrawals</a:t>
            </a:r>
            <a:endParaRPr lang="en-GB" sz="1500" kern="0" dirty="0"/>
          </a:p>
        </p:txBody>
      </p:sp>
      <p:sp>
        <p:nvSpPr>
          <p:cNvPr id="22" name="Rectangle 21"/>
          <p:cNvSpPr/>
          <p:nvPr/>
        </p:nvSpPr>
        <p:spPr>
          <a:xfrm>
            <a:off x="5895734" y="2829719"/>
            <a:ext cx="201402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Attractive</a:t>
            </a:r>
            <a:r>
              <a:rPr lang="en-US" sz="1600" dirty="0"/>
              <a:t> </a:t>
            </a:r>
            <a:r>
              <a:rPr lang="en-US" sz="1600" b="1" dirty="0"/>
              <a:t>Charge Structure</a:t>
            </a:r>
          </a:p>
          <a:p>
            <a:pPr algn="ctr"/>
            <a:r>
              <a:rPr lang="en-US" sz="1600" dirty="0"/>
              <a:t>Competitive charge structure</a:t>
            </a:r>
          </a:p>
        </p:txBody>
      </p:sp>
    </p:spTree>
    <p:extLst>
      <p:ext uri="{BB962C8B-B14F-4D97-AF65-F5344CB8AC3E}">
        <p14:creationId xmlns:p14="http://schemas.microsoft.com/office/powerpoint/2010/main" val="17971787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8" name="Title 8"/>
          <p:cNvSpPr txBox="1">
            <a:spLocks/>
          </p:cNvSpPr>
          <p:nvPr/>
        </p:nvSpPr>
        <p:spPr>
          <a:xfrm>
            <a:off x="269157" y="153621"/>
            <a:ext cx="6944443" cy="49346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Example - Regular Savings Pla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BD5D5CE-A560-4CE4-A1D5-B582B5AB58A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49994" y="647088"/>
          <a:ext cx="4688923" cy="4140965"/>
        </p:xfrm>
        <a:graphic>
          <a:graphicData uri="http://schemas.openxmlformats.org/drawingml/2006/table">
            <a:tbl>
              <a:tblPr/>
              <a:tblGrid>
                <a:gridCol w="675724">
                  <a:extLst>
                    <a:ext uri="{9D8B030D-6E8A-4147-A177-3AD203B41FA5}">
                      <a16:colId xmlns:a16="http://schemas.microsoft.com/office/drawing/2014/main" val="1572441111"/>
                    </a:ext>
                  </a:extLst>
                </a:gridCol>
                <a:gridCol w="1518581">
                  <a:extLst>
                    <a:ext uri="{9D8B030D-6E8A-4147-A177-3AD203B41FA5}">
                      <a16:colId xmlns:a16="http://schemas.microsoft.com/office/drawing/2014/main" val="647539406"/>
                    </a:ext>
                  </a:extLst>
                </a:gridCol>
                <a:gridCol w="585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12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77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03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REGULAR SAVINGS PLAN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20" marR="45720" marT="27432" marB="27432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90386"/>
                  </a:ext>
                </a:extLst>
              </a:tr>
              <a:tr h="3289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ccount Value*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0D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ash Value*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279">
                <a:tc rowSpan="1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ue to Custome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ustomer Value</a:t>
                      </a:r>
                      <a:endParaRPr lang="en-US" sz="8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433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273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,903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663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76149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,461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,981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378194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,395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,155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8154598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,718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,718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6735557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,440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,440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772623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574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574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1207940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,133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,133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289997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,127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,127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360869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0,572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0,572</a:t>
                      </a:r>
                    </a:p>
                  </a:txBody>
                  <a:tcPr marL="6225" marR="6225" marT="62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/>
                      <a:endParaRPr lang="en-US" sz="10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4,080</a:t>
                      </a:r>
                    </a:p>
                  </a:txBody>
                  <a:tcPr marL="37350" marR="37350" marT="14940" marB="1494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4,080</a:t>
                      </a:r>
                    </a:p>
                  </a:txBody>
                  <a:tcPr marL="37350" marR="37350" marT="14940" marB="1494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,159</a:t>
                      </a:r>
                    </a:p>
                  </a:txBody>
                  <a:tcPr marL="37350" marR="37350" marT="14940" marB="1494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,159</a:t>
                      </a:r>
                    </a:p>
                  </a:txBody>
                  <a:tcPr marL="37350" marR="37350" marT="14940" marB="1494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0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751576"/>
                  </a:ext>
                </a:extLst>
              </a:tr>
              <a:tr h="156279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ees &amp;</a:t>
                      </a:r>
                      <a:b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rges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mium</a:t>
                      </a:r>
                      <a:b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rge</a:t>
                      </a:r>
                      <a:endParaRPr lang="en-US" sz="8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-2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3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117155"/>
                  </a:ext>
                </a:extLst>
              </a:tr>
              <a:tr h="1562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+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631831"/>
                  </a:ext>
                </a:extLst>
              </a:tr>
              <a:tr h="409079">
                <a:tc vMerge="1">
                  <a:txBody>
                    <a:bodyPr/>
                    <a:lstStyle/>
                    <a:p>
                      <a:pPr algn="l" rtl="0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9523" marR="9523" marT="952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0D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ual</a:t>
                      </a:r>
                      <a:b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&amp;E Charge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ll Years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&lt;25k – 1.70%</a:t>
                      </a:r>
                    </a:p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k&lt;AV&lt;100k - 1.20%</a:t>
                      </a:r>
                    </a:p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&gt;=100k - 0.80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0943016"/>
                  </a:ext>
                </a:extLst>
              </a:tr>
              <a:tr h="2826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onthly</a:t>
                      </a:r>
                      <a:b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dmin Fee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All Year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0 per month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1321896"/>
                  </a:ext>
                </a:extLst>
              </a:tr>
              <a:tr h="2148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emium Load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37350" marR="37350" marT="14940" marB="149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1499292"/>
                  </a:ext>
                </a:extLst>
              </a:tr>
              <a:tr h="1613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+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5335026"/>
                  </a:ext>
                </a:extLst>
              </a:tr>
              <a:tr h="300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563040"/>
                  </a:ext>
                </a:extLst>
              </a:tr>
              <a:tr h="43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13941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941" y="1767396"/>
            <a:ext cx="741680" cy="74168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77826" y="2509076"/>
            <a:ext cx="190524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35 y/o, Male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$12,000 Annual Premium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u="sng" kern="0" spc="-20" dirty="0">
                <a:solidFill>
                  <a:srgbClr val="000000"/>
                </a:solidFill>
                <a:cs typeface="Open Sans Bold"/>
              </a:rPr>
              <a:t>10 year Premium term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3% growth</a:t>
            </a:r>
          </a:p>
        </p:txBody>
      </p:sp>
      <p:sp>
        <p:nvSpPr>
          <p:cNvPr id="62" name="Text Placeholder 1"/>
          <p:cNvSpPr txBox="1">
            <a:spLocks/>
          </p:cNvSpPr>
          <p:nvPr/>
        </p:nvSpPr>
        <p:spPr>
          <a:xfrm>
            <a:off x="2468714" y="4517271"/>
            <a:ext cx="4480726" cy="318044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4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30969" indent="-126206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2419" indent="-17145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8625" indent="-1321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0785" indent="-1702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*The Account and Cash Values illustrated above do not include the Annual M&amp;E charge.</a:t>
            </a:r>
            <a:b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** The Account and Cash Values mentioned above are for illustrative purpose only.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77548" y="592648"/>
            <a:ext cx="8438889" cy="359300"/>
          </a:xfrm>
        </p:spPr>
        <p:txBody>
          <a:bodyPr/>
          <a:lstStyle/>
          <a:p>
            <a:r>
              <a:rPr lang="en-US" dirty="0"/>
              <a:t>10 year Premium term</a:t>
            </a:r>
          </a:p>
        </p:txBody>
      </p:sp>
    </p:spTree>
    <p:extLst>
      <p:ext uri="{BB962C8B-B14F-4D97-AF65-F5344CB8AC3E}">
        <p14:creationId xmlns:p14="http://schemas.microsoft.com/office/powerpoint/2010/main" val="7286586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8" name="Title 8"/>
          <p:cNvSpPr txBox="1">
            <a:spLocks/>
          </p:cNvSpPr>
          <p:nvPr/>
        </p:nvSpPr>
        <p:spPr>
          <a:xfrm>
            <a:off x="269157" y="153621"/>
            <a:ext cx="6944443" cy="49346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Example - Regular Savings Pla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BD5D5CE-A560-4CE4-A1D5-B582B5AB58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7568014"/>
              </p:ext>
            </p:extLst>
          </p:nvPr>
        </p:nvGraphicFramePr>
        <p:xfrm>
          <a:off x="2567411" y="664514"/>
          <a:ext cx="4688923" cy="4479050"/>
        </p:xfrm>
        <a:graphic>
          <a:graphicData uri="http://schemas.openxmlformats.org/drawingml/2006/table">
            <a:tbl>
              <a:tblPr/>
              <a:tblGrid>
                <a:gridCol w="675724">
                  <a:extLst>
                    <a:ext uri="{9D8B030D-6E8A-4147-A177-3AD203B41FA5}">
                      <a16:colId xmlns:a16="http://schemas.microsoft.com/office/drawing/2014/main" val="1572441111"/>
                    </a:ext>
                  </a:extLst>
                </a:gridCol>
                <a:gridCol w="1518581">
                  <a:extLst>
                    <a:ext uri="{9D8B030D-6E8A-4147-A177-3AD203B41FA5}">
                      <a16:colId xmlns:a16="http://schemas.microsoft.com/office/drawing/2014/main" val="647539406"/>
                    </a:ext>
                  </a:extLst>
                </a:gridCol>
                <a:gridCol w="585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12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77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52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REGULAR SAVINGS PLAN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5720" marR="45720" marT="27432" marB="27432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90386"/>
                  </a:ext>
                </a:extLst>
              </a:tr>
              <a:tr h="2262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ccount Value*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0D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ash Value*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298">
                <a:tc rowSpan="1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ue to Customer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rowSpan="1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ustomer Value</a:t>
                      </a:r>
                      <a:endParaRPr lang="en-US" sz="8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84,969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14,169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174,233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84,233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276149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310,683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260,283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378194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458,049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454,449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8154598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617,203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617,203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6735557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789,091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789,091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772623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974,729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974,729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1207940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1,175,218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1,175,218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289997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1,391,746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1,391,746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8360869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1,625,597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1,625,597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1,878,156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1,878,156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2,150,919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2,150,919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2,445,504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2,445,504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2,763,655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2,763,655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3,107,258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3,107,258 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/>
                      <a:endParaRPr lang="en-US" sz="10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4,564,848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4,564,848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pPr algn="l" rtl="0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uk-UA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06</a:t>
                      </a:r>
                      <a:r>
                        <a:rPr lang="uk-UA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25</a:t>
                      </a:r>
                      <a:r>
                        <a:rPr lang="uk-UA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</a:t>
                      </a:r>
                      <a:r>
                        <a:rPr lang="uk-UA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06</a:t>
                      </a:r>
                      <a:r>
                        <a:rPr lang="uk-UA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,</a:t>
                      </a:r>
                      <a:r>
                        <a:rPr lang="en-US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25</a:t>
                      </a:r>
                      <a:r>
                        <a:rPr lang="uk-UA" sz="78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66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751576"/>
                  </a:ext>
                </a:extLst>
              </a:tr>
              <a:tr h="145298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ees &amp;</a:t>
                      </a:r>
                      <a:b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rges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mium</a:t>
                      </a:r>
                      <a:b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arge</a:t>
                      </a:r>
                      <a:endParaRPr lang="en-US" sz="800" b="0" i="1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-2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117155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+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631831"/>
                  </a:ext>
                </a:extLst>
              </a:tr>
              <a:tr h="378695">
                <a:tc vMerge="1">
                  <a:txBody>
                    <a:bodyPr/>
                    <a:lstStyle/>
                    <a:p>
                      <a:pPr algn="l" rtl="0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9523" marR="9523" marT="952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0D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ual</a:t>
                      </a:r>
                      <a:b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800" b="0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&amp;E Charge*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ll Years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&lt;25k – 1.70%</a:t>
                      </a:r>
                    </a:p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k&lt;AV&lt;100k - 1.20%</a:t>
                      </a:r>
                    </a:p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&gt;=100k - 0.80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0943016"/>
                  </a:ext>
                </a:extLst>
              </a:tr>
              <a:tr h="2619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onthly</a:t>
                      </a:r>
                      <a:b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dmin Fee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All Year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0 per month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3CE4E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1321896"/>
                  </a:ext>
                </a:extLst>
              </a:tr>
              <a:tr h="14776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8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emium Load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37350" marR="37350" marT="14940" marB="149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1499292"/>
                  </a:ext>
                </a:extLst>
              </a:tr>
              <a:tr h="145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+</a:t>
                      </a:r>
                      <a:endParaRPr lang="en-US" sz="800" dirty="0"/>
                    </a:p>
                  </a:txBody>
                  <a:tcPr marL="37350" marR="37350" marT="14940" marB="149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787B">
                        <a:lumMod val="20000"/>
                        <a:lumOff val="8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37350" marR="37350" marT="14940" marB="1494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5335026"/>
                  </a:ext>
                </a:extLst>
              </a:tr>
              <a:tr h="1166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endParaRPr lang="en-US" sz="8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1394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77826" y="2509076"/>
            <a:ext cx="190524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45 y/o, Female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$10,000 Monthly Premium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u="sng" kern="0" spc="-20" dirty="0">
                <a:solidFill>
                  <a:srgbClr val="000000"/>
                </a:solidFill>
                <a:cs typeface="Open Sans Bold"/>
              </a:rPr>
              <a:t>15 year Premium term</a:t>
            </a:r>
          </a:p>
          <a:p>
            <a:pPr lvl="0" algn="ctr" defTabSz="914400">
              <a:lnSpc>
                <a:spcPct val="150000"/>
              </a:lnSpc>
              <a:defRPr/>
            </a:pPr>
            <a:r>
              <a:rPr lang="en-US" sz="1000" b="1" kern="0" spc="-20" dirty="0">
                <a:solidFill>
                  <a:srgbClr val="000000"/>
                </a:solidFill>
                <a:cs typeface="Open Sans Bold"/>
              </a:rPr>
              <a:t>8% growth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77548" y="592648"/>
            <a:ext cx="8438889" cy="359300"/>
          </a:xfrm>
        </p:spPr>
        <p:txBody>
          <a:bodyPr/>
          <a:lstStyle/>
          <a:p>
            <a:r>
              <a:rPr lang="en-US" dirty="0"/>
              <a:t>15 year Premium term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50" y="1712677"/>
            <a:ext cx="829056" cy="82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162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8" name="Title 8"/>
          <p:cNvSpPr txBox="1">
            <a:spLocks/>
          </p:cNvSpPr>
          <p:nvPr/>
        </p:nvSpPr>
        <p:spPr>
          <a:xfrm>
            <a:off x="269157" y="153621"/>
            <a:ext cx="6944443" cy="49346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dirty="0" err="1"/>
              <a:t>Lapsation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4E8E181-DD89-4456-BD15-3809ABDFC361}"/>
              </a:ext>
            </a:extLst>
          </p:cNvPr>
          <p:cNvSpPr>
            <a:spLocks/>
          </p:cNvSpPr>
          <p:nvPr/>
        </p:nvSpPr>
        <p:spPr>
          <a:xfrm>
            <a:off x="61464" y="763162"/>
            <a:ext cx="2108419" cy="2467998"/>
          </a:xfrm>
          <a:prstGeom prst="rect">
            <a:avLst/>
          </a:prstGeom>
          <a:gradFill>
            <a:gsLst>
              <a:gs pos="27000">
                <a:srgbClr val="FFFFFF"/>
              </a:gs>
              <a:gs pos="62000">
                <a:srgbClr val="FFFFFF">
                  <a:lumMod val="95000"/>
                </a:srgbClr>
              </a:gs>
              <a:gs pos="100000">
                <a:srgbClr val="E6E6E6"/>
              </a:gs>
            </a:gsLst>
            <a:lin ang="5400000" scaled="1"/>
          </a:gradFill>
          <a:ln>
            <a:noFill/>
            <a:prstDash val="dash"/>
          </a:ln>
          <a:effectLst/>
        </p:spPr>
        <p:txBody>
          <a:bodyPr lIns="87782" tIns="87782" rIns="87782" bIns="640080" anchor="b">
            <a:noAutofit/>
          </a:bodyPr>
          <a:lstStyle/>
          <a:p>
            <a:pPr algn="ctr">
              <a:defRPr/>
            </a:pPr>
            <a:endParaRPr lang="en-US" sz="1800" kern="0" dirty="0">
              <a:solidFill>
                <a:schemeClr val="tx1">
                  <a:lumMod val="75000"/>
                  <a:lumOff val="25000"/>
                </a:schemeClr>
              </a:solidFill>
              <a:ea typeface="ＭＳ Ｐゴシック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00B16DB-3503-4E9B-9831-33A20580918A}"/>
              </a:ext>
            </a:extLst>
          </p:cNvPr>
          <p:cNvSpPr>
            <a:spLocks/>
          </p:cNvSpPr>
          <p:nvPr/>
        </p:nvSpPr>
        <p:spPr>
          <a:xfrm>
            <a:off x="2372543" y="647087"/>
            <a:ext cx="2108419" cy="2563473"/>
          </a:xfrm>
          <a:prstGeom prst="rect">
            <a:avLst/>
          </a:prstGeom>
          <a:gradFill>
            <a:gsLst>
              <a:gs pos="27000">
                <a:srgbClr val="FFFFFF"/>
              </a:gs>
              <a:gs pos="62000">
                <a:srgbClr val="FFFFFF">
                  <a:lumMod val="95000"/>
                </a:srgbClr>
              </a:gs>
              <a:gs pos="100000">
                <a:srgbClr val="E6E6E6"/>
              </a:gs>
            </a:gsLst>
            <a:lin ang="5400000" scaled="1"/>
          </a:gradFill>
          <a:ln>
            <a:noFill/>
            <a:prstDash val="dash"/>
          </a:ln>
          <a:effectLst/>
        </p:spPr>
        <p:txBody>
          <a:bodyPr lIns="87782" tIns="87782" rIns="87782" bIns="640080" anchor="b">
            <a:noAutofit/>
          </a:bodyPr>
          <a:lstStyle/>
          <a:p>
            <a:pPr algn="ctr"/>
            <a:endParaRPr lang="en-US" sz="1800" kern="0" dirty="0">
              <a:solidFill>
                <a:schemeClr val="tx1">
                  <a:lumMod val="75000"/>
                  <a:lumOff val="25000"/>
                </a:schemeClr>
              </a:solidFill>
              <a:ea typeface="ＭＳ Ｐゴシック"/>
            </a:endParaRPr>
          </a:p>
        </p:txBody>
      </p:sp>
      <p:sp>
        <p:nvSpPr>
          <p:cNvPr id="76" name="Rectangle 10">
            <a:extLst>
              <a:ext uri="{FF2B5EF4-FFF2-40B4-BE49-F238E27FC236}">
                <a16:creationId xmlns:a16="http://schemas.microsoft.com/office/drawing/2014/main" id="{1A74F32F-CDB1-4BF6-BDB9-0060EC948220}"/>
              </a:ext>
            </a:extLst>
          </p:cNvPr>
          <p:cNvSpPr txBox="1">
            <a:spLocks/>
          </p:cNvSpPr>
          <p:nvPr/>
        </p:nvSpPr>
        <p:spPr bwMode="gray">
          <a:xfrm>
            <a:off x="815752" y="962806"/>
            <a:ext cx="59984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04" lvl="1" indent="0" algn="ctr" defTabSz="1074420">
              <a:buClrTx/>
              <a:buFont typeface="Arial" charset="0"/>
              <a:buNone/>
              <a:defRPr/>
            </a:pPr>
            <a:r>
              <a:rPr lang="en-US" sz="2400" b="1" kern="0" dirty="0">
                <a:solidFill>
                  <a:srgbClr val="0093D6"/>
                </a:solidFill>
                <a:ea typeface="ＭＳ Ｐゴシック"/>
              </a:rPr>
              <a:t>One</a:t>
            </a:r>
          </a:p>
        </p:txBody>
      </p:sp>
      <p:sp>
        <p:nvSpPr>
          <p:cNvPr id="77" name="Rectangle 10">
            <a:extLst>
              <a:ext uri="{FF2B5EF4-FFF2-40B4-BE49-F238E27FC236}">
                <a16:creationId xmlns:a16="http://schemas.microsoft.com/office/drawing/2014/main" id="{7D0AE4ED-A69E-430A-BEAD-538CC77D5A3D}"/>
              </a:ext>
            </a:extLst>
          </p:cNvPr>
          <p:cNvSpPr txBox="1">
            <a:spLocks/>
          </p:cNvSpPr>
          <p:nvPr/>
        </p:nvSpPr>
        <p:spPr bwMode="gray">
          <a:xfrm>
            <a:off x="3131841" y="1134086"/>
            <a:ext cx="61587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04" lvl="1" indent="0" algn="ctr" defTabSz="1074420">
              <a:buClrTx/>
              <a:buFont typeface="Arial" charset="0"/>
              <a:buNone/>
              <a:defRPr/>
            </a:pPr>
            <a:r>
              <a:rPr lang="en-US" sz="2400" b="1" kern="0" dirty="0">
                <a:solidFill>
                  <a:schemeClr val="accent5"/>
                </a:solidFill>
                <a:ea typeface="ＭＳ Ｐゴシック"/>
              </a:rPr>
              <a:t>Two</a:t>
            </a:r>
          </a:p>
        </p:txBody>
      </p:sp>
      <p:sp>
        <p:nvSpPr>
          <p:cNvPr id="80" name="Arc 5">
            <a:extLst>
              <a:ext uri="{FF2B5EF4-FFF2-40B4-BE49-F238E27FC236}">
                <a16:creationId xmlns:a16="http://schemas.microsoft.com/office/drawing/2014/main" id="{10DEABAA-B629-4F61-AA1C-6A1B174511E9}"/>
              </a:ext>
            </a:extLst>
          </p:cNvPr>
          <p:cNvSpPr>
            <a:spLocks/>
          </p:cNvSpPr>
          <p:nvPr/>
        </p:nvSpPr>
        <p:spPr bwMode="auto">
          <a:xfrm flipH="1">
            <a:off x="2052548" y="1555588"/>
            <a:ext cx="2617639" cy="570243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accent5">
                <a:alpha val="70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defTabSz="685800">
              <a:defRPr/>
            </a:pPr>
            <a:endParaRPr lang="en-US" sz="2400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81" name="Arc 4">
            <a:extLst>
              <a:ext uri="{FF2B5EF4-FFF2-40B4-BE49-F238E27FC236}">
                <a16:creationId xmlns:a16="http://schemas.microsoft.com/office/drawing/2014/main" id="{A2B7F505-87FF-4C83-B16B-65D535513D43}"/>
              </a:ext>
            </a:extLst>
          </p:cNvPr>
          <p:cNvSpPr>
            <a:spLocks/>
          </p:cNvSpPr>
          <p:nvPr/>
        </p:nvSpPr>
        <p:spPr bwMode="auto">
          <a:xfrm flipH="1">
            <a:off x="0" y="1384353"/>
            <a:ext cx="2398594" cy="570243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  <a:gd name="T9" fmla="*/ 0 w 20829"/>
              <a:gd name="T10" fmla="*/ 0 h 21600"/>
              <a:gd name="T11" fmla="*/ 20829 w 2082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defTabSz="685800">
              <a:defRPr/>
            </a:pPr>
            <a:endParaRPr lang="en-US" sz="2400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86" name="Freeform 90787">
            <a:extLst>
              <a:ext uri="{FF2B5EF4-FFF2-40B4-BE49-F238E27FC236}">
                <a16:creationId xmlns:a16="http://schemas.microsoft.com/office/drawing/2014/main" id="{9A360D7A-29F0-43C9-9866-8088111823FD}"/>
              </a:ext>
            </a:extLst>
          </p:cNvPr>
          <p:cNvSpPr>
            <a:spLocks/>
          </p:cNvSpPr>
          <p:nvPr/>
        </p:nvSpPr>
        <p:spPr bwMode="auto">
          <a:xfrm>
            <a:off x="5823003" y="647086"/>
            <a:ext cx="167637" cy="232149"/>
          </a:xfrm>
          <a:custGeom>
            <a:avLst/>
            <a:gdLst>
              <a:gd name="T0" fmla="*/ 0 w 53"/>
              <a:gd name="T1" fmla="*/ 47 h 74"/>
              <a:gd name="T2" fmla="*/ 0 w 53"/>
              <a:gd name="T3" fmla="*/ 46 h 74"/>
              <a:gd name="T4" fmla="*/ 17 w 53"/>
              <a:gd name="T5" fmla="*/ 29 h 74"/>
              <a:gd name="T6" fmla="*/ 18 w 53"/>
              <a:gd name="T7" fmla="*/ 29 h 74"/>
              <a:gd name="T8" fmla="*/ 35 w 53"/>
              <a:gd name="T9" fmla="*/ 46 h 74"/>
              <a:gd name="T10" fmla="*/ 35 w 53"/>
              <a:gd name="T11" fmla="*/ 47 h 74"/>
              <a:gd name="T12" fmla="*/ 35 w 53"/>
              <a:gd name="T13" fmla="*/ 47 h 74"/>
              <a:gd name="T14" fmla="*/ 23 w 53"/>
              <a:gd name="T15" fmla="*/ 47 h 74"/>
              <a:gd name="T16" fmla="*/ 23 w 53"/>
              <a:gd name="T17" fmla="*/ 53 h 74"/>
              <a:gd name="T18" fmla="*/ 32 w 53"/>
              <a:gd name="T19" fmla="*/ 63 h 74"/>
              <a:gd name="T20" fmla="*/ 32 w 53"/>
              <a:gd name="T21" fmla="*/ 63 h 74"/>
              <a:gd name="T22" fmla="*/ 33 w 53"/>
              <a:gd name="T23" fmla="*/ 63 h 74"/>
              <a:gd name="T24" fmla="*/ 42 w 53"/>
              <a:gd name="T25" fmla="*/ 53 h 74"/>
              <a:gd name="T26" fmla="*/ 42 w 53"/>
              <a:gd name="T27" fmla="*/ 21 h 74"/>
              <a:gd name="T28" fmla="*/ 33 w 53"/>
              <a:gd name="T29" fmla="*/ 11 h 74"/>
              <a:gd name="T30" fmla="*/ 33 w 53"/>
              <a:gd name="T31" fmla="*/ 11 h 74"/>
              <a:gd name="T32" fmla="*/ 32 w 53"/>
              <a:gd name="T33" fmla="*/ 11 h 74"/>
              <a:gd name="T34" fmla="*/ 23 w 53"/>
              <a:gd name="T35" fmla="*/ 21 h 74"/>
              <a:gd name="T36" fmla="*/ 23 w 53"/>
              <a:gd name="T37" fmla="*/ 23 h 74"/>
              <a:gd name="T38" fmla="*/ 22 w 53"/>
              <a:gd name="T39" fmla="*/ 23 h 74"/>
              <a:gd name="T40" fmla="*/ 13 w 53"/>
              <a:gd name="T41" fmla="*/ 23 h 74"/>
              <a:gd name="T42" fmla="*/ 12 w 53"/>
              <a:gd name="T43" fmla="*/ 23 h 74"/>
              <a:gd name="T44" fmla="*/ 12 w 53"/>
              <a:gd name="T45" fmla="*/ 21 h 74"/>
              <a:gd name="T46" fmla="*/ 32 w 53"/>
              <a:gd name="T47" fmla="*/ 0 h 74"/>
              <a:gd name="T48" fmla="*/ 33 w 53"/>
              <a:gd name="T49" fmla="*/ 0 h 74"/>
              <a:gd name="T50" fmla="*/ 33 w 53"/>
              <a:gd name="T51" fmla="*/ 0 h 74"/>
              <a:gd name="T52" fmla="*/ 53 w 53"/>
              <a:gd name="T53" fmla="*/ 21 h 74"/>
              <a:gd name="T54" fmla="*/ 53 w 53"/>
              <a:gd name="T55" fmla="*/ 53 h 74"/>
              <a:gd name="T56" fmla="*/ 33 w 53"/>
              <a:gd name="T57" fmla="*/ 74 h 74"/>
              <a:gd name="T58" fmla="*/ 33 w 53"/>
              <a:gd name="T59" fmla="*/ 74 h 74"/>
              <a:gd name="T60" fmla="*/ 32 w 53"/>
              <a:gd name="T61" fmla="*/ 74 h 74"/>
              <a:gd name="T62" fmla="*/ 32 w 53"/>
              <a:gd name="T63" fmla="*/ 74 h 74"/>
              <a:gd name="T64" fmla="*/ 12 w 53"/>
              <a:gd name="T65" fmla="*/ 53 h 74"/>
              <a:gd name="T66" fmla="*/ 12 w 53"/>
              <a:gd name="T67" fmla="*/ 47 h 74"/>
              <a:gd name="T68" fmla="*/ 0 w 53"/>
              <a:gd name="T69" fmla="*/ 47 h 74"/>
              <a:gd name="T70" fmla="*/ 0 w 53"/>
              <a:gd name="T71" fmla="*/ 47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3" h="74">
                <a:moveTo>
                  <a:pt x="0" y="47"/>
                </a:moveTo>
                <a:cubicBezTo>
                  <a:pt x="0" y="46"/>
                  <a:pt x="0" y="46"/>
                  <a:pt x="0" y="46"/>
                </a:cubicBezTo>
                <a:cubicBezTo>
                  <a:pt x="17" y="29"/>
                  <a:pt x="17" y="29"/>
                  <a:pt x="17" y="29"/>
                </a:cubicBezTo>
                <a:cubicBezTo>
                  <a:pt x="18" y="29"/>
                  <a:pt x="18" y="29"/>
                  <a:pt x="18" y="29"/>
                </a:cubicBezTo>
                <a:cubicBezTo>
                  <a:pt x="35" y="46"/>
                  <a:pt x="35" y="46"/>
                  <a:pt x="35" y="46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5" y="47"/>
                  <a:pt x="35" y="47"/>
                </a:cubicBezTo>
                <a:cubicBezTo>
                  <a:pt x="23" y="47"/>
                  <a:pt x="23" y="47"/>
                  <a:pt x="23" y="47"/>
                </a:cubicBezTo>
                <a:cubicBezTo>
                  <a:pt x="23" y="53"/>
                  <a:pt x="23" y="53"/>
                  <a:pt x="23" y="53"/>
                </a:cubicBezTo>
                <a:cubicBezTo>
                  <a:pt x="23" y="59"/>
                  <a:pt x="27" y="63"/>
                  <a:pt x="32" y="63"/>
                </a:cubicBezTo>
                <a:cubicBezTo>
                  <a:pt x="32" y="63"/>
                  <a:pt x="32" y="63"/>
                  <a:pt x="32" y="63"/>
                </a:cubicBezTo>
                <a:cubicBezTo>
                  <a:pt x="33" y="63"/>
                  <a:pt x="33" y="63"/>
                  <a:pt x="33" y="63"/>
                </a:cubicBezTo>
                <a:cubicBezTo>
                  <a:pt x="38" y="63"/>
                  <a:pt x="42" y="59"/>
                  <a:pt x="42" y="53"/>
                </a:cubicBezTo>
                <a:cubicBezTo>
                  <a:pt x="42" y="21"/>
                  <a:pt x="42" y="21"/>
                  <a:pt x="42" y="21"/>
                </a:cubicBezTo>
                <a:cubicBezTo>
                  <a:pt x="42" y="15"/>
                  <a:pt x="38" y="11"/>
                  <a:pt x="33" y="11"/>
                </a:cubicBezTo>
                <a:cubicBezTo>
                  <a:pt x="33" y="11"/>
                  <a:pt x="33" y="11"/>
                  <a:pt x="33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27" y="11"/>
                  <a:pt x="23" y="15"/>
                  <a:pt x="23" y="21"/>
                </a:cubicBezTo>
                <a:cubicBezTo>
                  <a:pt x="23" y="23"/>
                  <a:pt x="23" y="23"/>
                  <a:pt x="23" y="23"/>
                </a:cubicBezTo>
                <a:cubicBezTo>
                  <a:pt x="22" y="23"/>
                  <a:pt x="22" y="23"/>
                  <a:pt x="22" y="23"/>
                </a:cubicBezTo>
                <a:cubicBezTo>
                  <a:pt x="13" y="23"/>
                  <a:pt x="13" y="23"/>
                  <a:pt x="13" y="23"/>
                </a:cubicBezTo>
                <a:cubicBezTo>
                  <a:pt x="12" y="23"/>
                  <a:pt x="12" y="23"/>
                  <a:pt x="12" y="23"/>
                </a:cubicBezTo>
                <a:cubicBezTo>
                  <a:pt x="12" y="21"/>
                  <a:pt x="12" y="21"/>
                  <a:pt x="12" y="21"/>
                </a:cubicBezTo>
                <a:cubicBezTo>
                  <a:pt x="12" y="9"/>
                  <a:pt x="21" y="0"/>
                  <a:pt x="3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44" y="0"/>
                  <a:pt x="53" y="9"/>
                  <a:pt x="53" y="21"/>
                </a:cubicBezTo>
                <a:cubicBezTo>
                  <a:pt x="53" y="53"/>
                  <a:pt x="53" y="53"/>
                  <a:pt x="53" y="53"/>
                </a:cubicBezTo>
                <a:cubicBezTo>
                  <a:pt x="53" y="64"/>
                  <a:pt x="44" y="74"/>
                  <a:pt x="33" y="74"/>
                </a:cubicBezTo>
                <a:cubicBezTo>
                  <a:pt x="33" y="74"/>
                  <a:pt x="33" y="74"/>
                  <a:pt x="33" y="74"/>
                </a:cubicBezTo>
                <a:cubicBezTo>
                  <a:pt x="32" y="74"/>
                  <a:pt x="32" y="74"/>
                  <a:pt x="32" y="74"/>
                </a:cubicBezTo>
                <a:cubicBezTo>
                  <a:pt x="32" y="74"/>
                  <a:pt x="32" y="74"/>
                  <a:pt x="32" y="74"/>
                </a:cubicBezTo>
                <a:cubicBezTo>
                  <a:pt x="21" y="74"/>
                  <a:pt x="12" y="65"/>
                  <a:pt x="12" y="53"/>
                </a:cubicBezTo>
                <a:cubicBezTo>
                  <a:pt x="12" y="47"/>
                  <a:pt x="12" y="47"/>
                  <a:pt x="12" y="47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47"/>
                  <a:pt x="0" y="47"/>
                  <a:pt x="0" y="4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es-CR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87" name="Freeform 90788">
            <a:extLst>
              <a:ext uri="{FF2B5EF4-FFF2-40B4-BE49-F238E27FC236}">
                <a16:creationId xmlns:a16="http://schemas.microsoft.com/office/drawing/2014/main" id="{A364A5F5-5CF4-441F-A7D5-79A2FCE5C2D4}"/>
              </a:ext>
            </a:extLst>
          </p:cNvPr>
          <p:cNvSpPr>
            <a:spLocks/>
          </p:cNvSpPr>
          <p:nvPr/>
        </p:nvSpPr>
        <p:spPr bwMode="auto">
          <a:xfrm>
            <a:off x="5962118" y="647086"/>
            <a:ext cx="167637" cy="232149"/>
          </a:xfrm>
          <a:custGeom>
            <a:avLst/>
            <a:gdLst>
              <a:gd name="T0" fmla="*/ 54 w 54"/>
              <a:gd name="T1" fmla="*/ 27 h 74"/>
              <a:gd name="T2" fmla="*/ 54 w 54"/>
              <a:gd name="T3" fmla="*/ 27 h 74"/>
              <a:gd name="T4" fmla="*/ 36 w 54"/>
              <a:gd name="T5" fmla="*/ 45 h 74"/>
              <a:gd name="T6" fmla="*/ 36 w 54"/>
              <a:gd name="T7" fmla="*/ 45 h 74"/>
              <a:gd name="T8" fmla="*/ 18 w 54"/>
              <a:gd name="T9" fmla="*/ 27 h 74"/>
              <a:gd name="T10" fmla="*/ 18 w 54"/>
              <a:gd name="T11" fmla="*/ 27 h 74"/>
              <a:gd name="T12" fmla="*/ 19 w 54"/>
              <a:gd name="T13" fmla="*/ 27 h 74"/>
              <a:gd name="T14" fmla="*/ 31 w 54"/>
              <a:gd name="T15" fmla="*/ 27 h 74"/>
              <a:gd name="T16" fmla="*/ 31 w 54"/>
              <a:gd name="T17" fmla="*/ 21 h 74"/>
              <a:gd name="T18" fmla="*/ 21 w 54"/>
              <a:gd name="T19" fmla="*/ 11 h 74"/>
              <a:gd name="T20" fmla="*/ 21 w 54"/>
              <a:gd name="T21" fmla="*/ 11 h 74"/>
              <a:gd name="T22" fmla="*/ 21 w 54"/>
              <a:gd name="T23" fmla="*/ 11 h 74"/>
              <a:gd name="T24" fmla="*/ 11 w 54"/>
              <a:gd name="T25" fmla="*/ 21 h 74"/>
              <a:gd name="T26" fmla="*/ 11 w 54"/>
              <a:gd name="T27" fmla="*/ 53 h 74"/>
              <a:gd name="T28" fmla="*/ 21 w 54"/>
              <a:gd name="T29" fmla="*/ 63 h 74"/>
              <a:gd name="T30" fmla="*/ 21 w 54"/>
              <a:gd name="T31" fmla="*/ 63 h 74"/>
              <a:gd name="T32" fmla="*/ 21 w 54"/>
              <a:gd name="T33" fmla="*/ 63 h 74"/>
              <a:gd name="T34" fmla="*/ 31 w 54"/>
              <a:gd name="T35" fmla="*/ 53 h 74"/>
              <a:gd name="T36" fmla="*/ 31 w 54"/>
              <a:gd name="T37" fmla="*/ 51 h 74"/>
              <a:gd name="T38" fmla="*/ 31 w 54"/>
              <a:gd name="T39" fmla="*/ 51 h 74"/>
              <a:gd name="T40" fmla="*/ 41 w 54"/>
              <a:gd name="T41" fmla="*/ 51 h 74"/>
              <a:gd name="T42" fmla="*/ 42 w 54"/>
              <a:gd name="T43" fmla="*/ 51 h 74"/>
              <a:gd name="T44" fmla="*/ 42 w 54"/>
              <a:gd name="T45" fmla="*/ 53 h 74"/>
              <a:gd name="T46" fmla="*/ 21 w 54"/>
              <a:gd name="T47" fmla="*/ 74 h 74"/>
              <a:gd name="T48" fmla="*/ 21 w 54"/>
              <a:gd name="T49" fmla="*/ 74 h 74"/>
              <a:gd name="T50" fmla="*/ 21 w 54"/>
              <a:gd name="T51" fmla="*/ 74 h 74"/>
              <a:gd name="T52" fmla="*/ 0 w 54"/>
              <a:gd name="T53" fmla="*/ 53 h 74"/>
              <a:gd name="T54" fmla="*/ 0 w 54"/>
              <a:gd name="T55" fmla="*/ 21 h 74"/>
              <a:gd name="T56" fmla="*/ 21 w 54"/>
              <a:gd name="T57" fmla="*/ 0 h 74"/>
              <a:gd name="T58" fmla="*/ 21 w 54"/>
              <a:gd name="T59" fmla="*/ 0 h 74"/>
              <a:gd name="T60" fmla="*/ 21 w 54"/>
              <a:gd name="T61" fmla="*/ 0 h 74"/>
              <a:gd name="T62" fmla="*/ 21 w 54"/>
              <a:gd name="T63" fmla="*/ 0 h 74"/>
              <a:gd name="T64" fmla="*/ 42 w 54"/>
              <a:gd name="T65" fmla="*/ 21 h 74"/>
              <a:gd name="T66" fmla="*/ 42 w 54"/>
              <a:gd name="T67" fmla="*/ 27 h 74"/>
              <a:gd name="T68" fmla="*/ 53 w 54"/>
              <a:gd name="T69" fmla="*/ 27 h 74"/>
              <a:gd name="T70" fmla="*/ 54 w 54"/>
              <a:gd name="T71" fmla="*/ 27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" h="74">
                <a:moveTo>
                  <a:pt x="54" y="27"/>
                </a:moveTo>
                <a:cubicBezTo>
                  <a:pt x="54" y="27"/>
                  <a:pt x="54" y="27"/>
                  <a:pt x="54" y="27"/>
                </a:cubicBezTo>
                <a:cubicBezTo>
                  <a:pt x="36" y="45"/>
                  <a:pt x="36" y="45"/>
                  <a:pt x="36" y="45"/>
                </a:cubicBezTo>
                <a:cubicBezTo>
                  <a:pt x="36" y="45"/>
                  <a:pt x="36" y="45"/>
                  <a:pt x="36" y="45"/>
                </a:cubicBezTo>
                <a:cubicBezTo>
                  <a:pt x="18" y="27"/>
                  <a:pt x="18" y="27"/>
                  <a:pt x="18" y="27"/>
                </a:cubicBezTo>
                <a:cubicBezTo>
                  <a:pt x="18" y="27"/>
                  <a:pt x="18" y="27"/>
                  <a:pt x="18" y="27"/>
                </a:cubicBezTo>
                <a:cubicBezTo>
                  <a:pt x="19" y="27"/>
                  <a:pt x="19" y="27"/>
                  <a:pt x="19" y="27"/>
                </a:cubicBezTo>
                <a:cubicBezTo>
                  <a:pt x="31" y="27"/>
                  <a:pt x="31" y="27"/>
                  <a:pt x="31" y="27"/>
                </a:cubicBezTo>
                <a:cubicBezTo>
                  <a:pt x="31" y="21"/>
                  <a:pt x="31" y="21"/>
                  <a:pt x="31" y="21"/>
                </a:cubicBezTo>
                <a:cubicBezTo>
                  <a:pt x="31" y="15"/>
                  <a:pt x="26" y="11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21" y="11"/>
                  <a:pt x="21" y="11"/>
                  <a:pt x="21" y="11"/>
                </a:cubicBezTo>
                <a:cubicBezTo>
                  <a:pt x="15" y="11"/>
                  <a:pt x="11" y="15"/>
                  <a:pt x="11" y="21"/>
                </a:cubicBezTo>
                <a:cubicBezTo>
                  <a:pt x="11" y="53"/>
                  <a:pt x="11" y="53"/>
                  <a:pt x="11" y="53"/>
                </a:cubicBezTo>
                <a:cubicBezTo>
                  <a:pt x="11" y="59"/>
                  <a:pt x="15" y="63"/>
                  <a:pt x="21" y="63"/>
                </a:cubicBezTo>
                <a:cubicBezTo>
                  <a:pt x="21" y="63"/>
                  <a:pt x="21" y="63"/>
                  <a:pt x="21" y="63"/>
                </a:cubicBezTo>
                <a:cubicBezTo>
                  <a:pt x="21" y="63"/>
                  <a:pt x="21" y="63"/>
                  <a:pt x="21" y="63"/>
                </a:cubicBezTo>
                <a:cubicBezTo>
                  <a:pt x="27" y="63"/>
                  <a:pt x="31" y="59"/>
                  <a:pt x="31" y="53"/>
                </a:cubicBezTo>
                <a:cubicBezTo>
                  <a:pt x="31" y="51"/>
                  <a:pt x="31" y="51"/>
                  <a:pt x="31" y="51"/>
                </a:cubicBezTo>
                <a:cubicBezTo>
                  <a:pt x="31" y="51"/>
                  <a:pt x="31" y="51"/>
                  <a:pt x="31" y="51"/>
                </a:cubicBezTo>
                <a:cubicBezTo>
                  <a:pt x="41" y="51"/>
                  <a:pt x="41" y="51"/>
                  <a:pt x="41" y="51"/>
                </a:cubicBezTo>
                <a:cubicBezTo>
                  <a:pt x="42" y="51"/>
                  <a:pt x="42" y="51"/>
                  <a:pt x="42" y="51"/>
                </a:cubicBezTo>
                <a:cubicBezTo>
                  <a:pt x="42" y="53"/>
                  <a:pt x="42" y="53"/>
                  <a:pt x="42" y="53"/>
                </a:cubicBezTo>
                <a:cubicBezTo>
                  <a:pt x="42" y="64"/>
                  <a:pt x="32" y="74"/>
                  <a:pt x="21" y="74"/>
                </a:cubicBezTo>
                <a:cubicBezTo>
                  <a:pt x="21" y="74"/>
                  <a:pt x="21" y="74"/>
                  <a:pt x="21" y="74"/>
                </a:cubicBezTo>
                <a:cubicBezTo>
                  <a:pt x="21" y="74"/>
                  <a:pt x="21" y="74"/>
                  <a:pt x="21" y="74"/>
                </a:cubicBezTo>
                <a:cubicBezTo>
                  <a:pt x="10" y="74"/>
                  <a:pt x="0" y="65"/>
                  <a:pt x="0" y="53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10" y="0"/>
                  <a:pt x="21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32" y="0"/>
                  <a:pt x="42" y="9"/>
                  <a:pt x="42" y="21"/>
                </a:cubicBezTo>
                <a:cubicBezTo>
                  <a:pt x="42" y="27"/>
                  <a:pt x="42" y="27"/>
                  <a:pt x="42" y="27"/>
                </a:cubicBezTo>
                <a:cubicBezTo>
                  <a:pt x="53" y="27"/>
                  <a:pt x="53" y="27"/>
                  <a:pt x="53" y="27"/>
                </a:cubicBezTo>
                <a:cubicBezTo>
                  <a:pt x="54" y="27"/>
                  <a:pt x="54" y="27"/>
                  <a:pt x="54" y="2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es-CR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4D4D61A-DC30-43C2-AF0F-C3A17496393A}"/>
              </a:ext>
            </a:extLst>
          </p:cNvPr>
          <p:cNvSpPr/>
          <p:nvPr/>
        </p:nvSpPr>
        <p:spPr>
          <a:xfrm>
            <a:off x="61464" y="3292311"/>
            <a:ext cx="2108419" cy="557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BA348770-BCB7-447C-96CB-652747A013AC}"/>
              </a:ext>
            </a:extLst>
          </p:cNvPr>
          <p:cNvSpPr/>
          <p:nvPr/>
        </p:nvSpPr>
        <p:spPr>
          <a:xfrm>
            <a:off x="2372543" y="3292311"/>
            <a:ext cx="2108419" cy="557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23C7380-1621-4B12-8308-6D5B0A4DBA24}"/>
              </a:ext>
            </a:extLst>
          </p:cNvPr>
          <p:cNvSpPr txBox="1"/>
          <p:nvPr/>
        </p:nvSpPr>
        <p:spPr>
          <a:xfrm>
            <a:off x="70171" y="3507239"/>
            <a:ext cx="23246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000" dirty="0">
                <a:latin typeface="Arial" pitchFamily="34" charset="0"/>
                <a:cs typeface="Arial" pitchFamily="34" charset="0"/>
              </a:rPr>
              <a:t>If the customer stops paying premiums, the policy will not automatically lapse.</a:t>
            </a:r>
          </a:p>
          <a:p>
            <a:pPr lvl="0"/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sz="1000" dirty="0">
                <a:latin typeface="Arial" pitchFamily="34" charset="0"/>
                <a:cs typeface="Arial" pitchFamily="34" charset="0"/>
              </a:rPr>
              <a:t> If premium not paid even during the Grace Period, the policy will laps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42706A23-D79C-4589-86C2-569DDDCD98B9}"/>
              </a:ext>
            </a:extLst>
          </p:cNvPr>
          <p:cNvSpPr txBox="1"/>
          <p:nvPr/>
        </p:nvSpPr>
        <p:spPr>
          <a:xfrm>
            <a:off x="2384743" y="3524656"/>
            <a:ext cx="210841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altLang="x-none" sz="1000" dirty="0">
                <a:latin typeface="Arial" pitchFamily="34" charset="0"/>
                <a:cs typeface="Arial" pitchFamily="34" charset="0"/>
              </a:rPr>
              <a:t>The monthly deductions to maintain the policy will be deducted from the Account Value.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954D450-7021-4B21-9FA1-946BA2D39BA9}"/>
              </a:ext>
            </a:extLst>
          </p:cNvPr>
          <p:cNvSpPr>
            <a:spLocks/>
          </p:cNvSpPr>
          <p:nvPr/>
        </p:nvSpPr>
        <p:spPr>
          <a:xfrm>
            <a:off x="4683624" y="765184"/>
            <a:ext cx="2108419" cy="2466334"/>
          </a:xfrm>
          <a:prstGeom prst="rect">
            <a:avLst/>
          </a:prstGeom>
          <a:gradFill>
            <a:gsLst>
              <a:gs pos="27000">
                <a:srgbClr val="FFFFFF"/>
              </a:gs>
              <a:gs pos="62000">
                <a:srgbClr val="FFFFFF">
                  <a:lumMod val="95000"/>
                </a:srgbClr>
              </a:gs>
              <a:gs pos="100000">
                <a:srgbClr val="E6E6E6"/>
              </a:gs>
            </a:gsLst>
            <a:lin ang="5400000" scaled="1"/>
          </a:gradFill>
          <a:ln>
            <a:noFill/>
            <a:prstDash val="dash"/>
          </a:ln>
          <a:effectLst/>
        </p:spPr>
        <p:txBody>
          <a:bodyPr lIns="87782" tIns="87782" rIns="87782" bIns="640080" anchor="b">
            <a:noAutofit/>
          </a:bodyPr>
          <a:lstStyle/>
          <a:p>
            <a:pPr algn="ctr"/>
            <a:endParaRPr lang="en-US" sz="1800" kern="0" dirty="0">
              <a:solidFill>
                <a:schemeClr val="tx1">
                  <a:lumMod val="75000"/>
                  <a:lumOff val="25000"/>
                </a:schemeClr>
              </a:solidFill>
              <a:ea typeface="ＭＳ Ｐゴシック"/>
            </a:endParaRPr>
          </a:p>
        </p:txBody>
      </p:sp>
      <p:sp>
        <p:nvSpPr>
          <p:cNvPr id="78" name="Rectangle 10">
            <a:extLst>
              <a:ext uri="{FF2B5EF4-FFF2-40B4-BE49-F238E27FC236}">
                <a16:creationId xmlns:a16="http://schemas.microsoft.com/office/drawing/2014/main" id="{C550BCF2-9134-4824-9C89-EA992C06360C}"/>
              </a:ext>
            </a:extLst>
          </p:cNvPr>
          <p:cNvSpPr txBox="1">
            <a:spLocks/>
          </p:cNvSpPr>
          <p:nvPr/>
        </p:nvSpPr>
        <p:spPr bwMode="gray">
          <a:xfrm>
            <a:off x="5224159" y="1256573"/>
            <a:ext cx="84029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04" lvl="1" indent="0" algn="ctr" defTabSz="1074420">
              <a:buClrTx/>
              <a:buFont typeface="Arial" charset="0"/>
              <a:buNone/>
              <a:defRPr/>
            </a:pPr>
            <a:r>
              <a:rPr lang="en-US" sz="2400" b="1" kern="0" dirty="0">
                <a:solidFill>
                  <a:schemeClr val="accent1"/>
                </a:solidFill>
                <a:ea typeface="ＭＳ Ｐゴシック"/>
              </a:rPr>
              <a:t>Three</a:t>
            </a:r>
          </a:p>
        </p:txBody>
      </p:sp>
      <p:sp>
        <p:nvSpPr>
          <p:cNvPr id="79" name="Arc 6">
            <a:extLst>
              <a:ext uri="{FF2B5EF4-FFF2-40B4-BE49-F238E27FC236}">
                <a16:creationId xmlns:a16="http://schemas.microsoft.com/office/drawing/2014/main" id="{91E345BE-1167-4490-9336-15384DAEE5E9}"/>
              </a:ext>
            </a:extLst>
          </p:cNvPr>
          <p:cNvSpPr>
            <a:spLocks/>
          </p:cNvSpPr>
          <p:nvPr/>
        </p:nvSpPr>
        <p:spPr bwMode="auto">
          <a:xfrm flipH="1">
            <a:off x="4480961" y="1794551"/>
            <a:ext cx="2502806" cy="570243"/>
          </a:xfrm>
          <a:custGeom>
            <a:avLst/>
            <a:gdLst>
              <a:gd name="T0" fmla="*/ 0 w 21286"/>
              <a:gd name="T1" fmla="*/ 2147483647 h 21600"/>
              <a:gd name="T2" fmla="*/ 2147483647 w 21286"/>
              <a:gd name="T3" fmla="*/ 2147483647 h 21600"/>
              <a:gd name="T4" fmla="*/ 2147483647 w 21286"/>
              <a:gd name="T5" fmla="*/ 2147483647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lnTo>
                  <a:pt x="0" y="12792"/>
                </a:lnTo>
                <a:close/>
              </a:path>
            </a:pathLst>
          </a:custGeom>
          <a:noFill/>
          <a:ln w="28575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defTabSz="685800">
              <a:defRPr/>
            </a:pPr>
            <a:endParaRPr lang="en-US" sz="2400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7F9CD0F2-551C-4186-AF92-0A26CD542EAA}"/>
              </a:ext>
            </a:extLst>
          </p:cNvPr>
          <p:cNvSpPr/>
          <p:nvPr/>
        </p:nvSpPr>
        <p:spPr>
          <a:xfrm>
            <a:off x="4683623" y="3292311"/>
            <a:ext cx="2108419" cy="557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D970DFF-DCC9-4E01-A3DC-59EF58DBBE13}"/>
              </a:ext>
            </a:extLst>
          </p:cNvPr>
          <p:cNvSpPr txBox="1"/>
          <p:nvPr/>
        </p:nvSpPr>
        <p:spPr>
          <a:xfrm>
            <a:off x="4683624" y="3526679"/>
            <a:ext cx="210841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altLang="x-none" sz="1000" dirty="0">
                <a:latin typeface="Arial" pitchFamily="34" charset="0"/>
                <a:cs typeface="Arial" pitchFamily="34" charset="0"/>
              </a:rPr>
              <a:t>The Policy Owner will have a grace period of 90 days to pay the missed premium.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954D450-7021-4B21-9FA1-946BA2D39BA9}"/>
              </a:ext>
            </a:extLst>
          </p:cNvPr>
          <p:cNvSpPr>
            <a:spLocks/>
          </p:cNvSpPr>
          <p:nvPr/>
        </p:nvSpPr>
        <p:spPr>
          <a:xfrm>
            <a:off x="6983769" y="763161"/>
            <a:ext cx="2108419" cy="2466334"/>
          </a:xfrm>
          <a:prstGeom prst="rect">
            <a:avLst/>
          </a:prstGeom>
          <a:gradFill>
            <a:gsLst>
              <a:gs pos="27000">
                <a:srgbClr val="FFFFFF"/>
              </a:gs>
              <a:gs pos="62000">
                <a:srgbClr val="FFFFFF">
                  <a:lumMod val="95000"/>
                </a:srgbClr>
              </a:gs>
              <a:gs pos="100000">
                <a:srgbClr val="E6E6E6"/>
              </a:gs>
            </a:gsLst>
            <a:lin ang="5400000" scaled="1"/>
          </a:gradFill>
          <a:ln>
            <a:noFill/>
            <a:prstDash val="dash"/>
          </a:ln>
          <a:effectLst/>
        </p:spPr>
        <p:txBody>
          <a:bodyPr lIns="87782" tIns="87782" rIns="87782" bIns="640080" anchor="b">
            <a:noAutofit/>
          </a:bodyPr>
          <a:lstStyle/>
          <a:p>
            <a:pPr algn="ctr"/>
            <a:endParaRPr lang="en-US" sz="1800" kern="0" dirty="0">
              <a:solidFill>
                <a:schemeClr val="tx1">
                  <a:lumMod val="75000"/>
                  <a:lumOff val="25000"/>
                </a:schemeClr>
              </a:solidFill>
              <a:ea typeface="ＭＳ Ｐゴシック"/>
            </a:endParaRPr>
          </a:p>
        </p:txBody>
      </p:sp>
      <p:sp>
        <p:nvSpPr>
          <p:cNvPr id="103" name="Rectangle 10">
            <a:extLst>
              <a:ext uri="{FF2B5EF4-FFF2-40B4-BE49-F238E27FC236}">
                <a16:creationId xmlns:a16="http://schemas.microsoft.com/office/drawing/2014/main" id="{C550BCF2-9134-4824-9C89-EA992C06360C}"/>
              </a:ext>
            </a:extLst>
          </p:cNvPr>
          <p:cNvSpPr txBox="1">
            <a:spLocks/>
          </p:cNvSpPr>
          <p:nvPr/>
        </p:nvSpPr>
        <p:spPr bwMode="gray">
          <a:xfrm>
            <a:off x="7570272" y="1372702"/>
            <a:ext cx="6848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04" lvl="1" indent="0" algn="ctr" defTabSz="1074420">
              <a:buClrTx/>
              <a:buFont typeface="Arial" charset="0"/>
              <a:buNone/>
              <a:defRPr/>
            </a:pPr>
            <a:r>
              <a:rPr lang="en-US" sz="2400" b="1" kern="0" dirty="0">
                <a:solidFill>
                  <a:srgbClr val="FFC600"/>
                </a:solidFill>
                <a:ea typeface="ＭＳ Ｐゴシック"/>
              </a:rPr>
              <a:t>Four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F9CD0F2-551C-4186-AF92-0A26CD542EAA}"/>
              </a:ext>
            </a:extLst>
          </p:cNvPr>
          <p:cNvSpPr/>
          <p:nvPr/>
        </p:nvSpPr>
        <p:spPr>
          <a:xfrm>
            <a:off x="6983768" y="3290288"/>
            <a:ext cx="2108419" cy="55793"/>
          </a:xfrm>
          <a:prstGeom prst="rect">
            <a:avLst/>
          </a:prstGeom>
          <a:solidFill>
            <a:srgbClr val="FFC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D970DFF-DCC9-4E01-A3DC-59EF58DBBE13}"/>
              </a:ext>
            </a:extLst>
          </p:cNvPr>
          <p:cNvSpPr txBox="1"/>
          <p:nvPr/>
        </p:nvSpPr>
        <p:spPr>
          <a:xfrm>
            <a:off x="6983769" y="3524656"/>
            <a:ext cx="21084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altLang="x-none" sz="1000" dirty="0">
                <a:latin typeface="Arial" pitchFamily="34" charset="0"/>
                <a:cs typeface="Arial" pitchFamily="34" charset="0"/>
              </a:rPr>
              <a:t>The Plan will laps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Arc 6">
            <a:extLst>
              <a:ext uri="{FF2B5EF4-FFF2-40B4-BE49-F238E27FC236}">
                <a16:creationId xmlns:a16="http://schemas.microsoft.com/office/drawing/2014/main" id="{91E345BE-1167-4490-9336-15384DAEE5E9}"/>
              </a:ext>
            </a:extLst>
          </p:cNvPr>
          <p:cNvSpPr>
            <a:spLocks/>
          </p:cNvSpPr>
          <p:nvPr/>
        </p:nvSpPr>
        <p:spPr bwMode="auto">
          <a:xfrm flipH="1">
            <a:off x="6661271" y="1991332"/>
            <a:ext cx="2502806" cy="570243"/>
          </a:xfrm>
          <a:custGeom>
            <a:avLst/>
            <a:gdLst>
              <a:gd name="T0" fmla="*/ 0 w 21286"/>
              <a:gd name="T1" fmla="*/ 2147483647 h 21600"/>
              <a:gd name="T2" fmla="*/ 2147483647 w 21286"/>
              <a:gd name="T3" fmla="*/ 2147483647 h 21600"/>
              <a:gd name="T4" fmla="*/ 2147483647 w 21286"/>
              <a:gd name="T5" fmla="*/ 2147483647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lnTo>
                  <a:pt x="0" y="12792"/>
                </a:lnTo>
                <a:close/>
              </a:path>
            </a:pathLst>
          </a:custGeom>
          <a:noFill/>
          <a:ln w="28575">
            <a:solidFill>
              <a:srgbClr val="FFC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defTabSz="685800">
              <a:defRPr/>
            </a:pPr>
            <a:endParaRPr lang="en-US" sz="2400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ED970DFF-DCC9-4E01-A3DC-59EF58DBBE13}"/>
              </a:ext>
            </a:extLst>
          </p:cNvPr>
          <p:cNvSpPr txBox="1"/>
          <p:nvPr/>
        </p:nvSpPr>
        <p:spPr>
          <a:xfrm>
            <a:off x="4949382" y="2184763"/>
            <a:ext cx="14461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/>
              </a:rPr>
              <a:t>Net Cash Surrender Value is not sufficient to cover charge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D970DFF-DCC9-4E01-A3DC-59EF58DBBE13}"/>
              </a:ext>
            </a:extLst>
          </p:cNvPr>
          <p:cNvSpPr txBox="1"/>
          <p:nvPr/>
        </p:nvSpPr>
        <p:spPr>
          <a:xfrm>
            <a:off x="6994705" y="2394905"/>
            <a:ext cx="21084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/>
              </a:rPr>
              <a:t>Premium is not paid during the Grace Period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D970DFF-DCC9-4E01-A3DC-59EF58DBBE13}"/>
              </a:ext>
            </a:extLst>
          </p:cNvPr>
          <p:cNvSpPr txBox="1"/>
          <p:nvPr/>
        </p:nvSpPr>
        <p:spPr>
          <a:xfrm>
            <a:off x="2701398" y="2277095"/>
            <a:ext cx="14461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/>
              </a:rPr>
              <a:t>Owners fails to pay after 18 months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ED970DFF-DCC9-4E01-A3DC-59EF58DBBE13}"/>
              </a:ext>
            </a:extLst>
          </p:cNvPr>
          <p:cNvSpPr txBox="1"/>
          <p:nvPr/>
        </p:nvSpPr>
        <p:spPr>
          <a:xfrm>
            <a:off x="336410" y="2444125"/>
            <a:ext cx="14461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/>
              </a:rPr>
              <a:t>1</a:t>
            </a:r>
            <a:r>
              <a:rPr lang="en-US" sz="1200" b="1" kern="0" baseline="3000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/>
              </a:rPr>
              <a:t>st</a:t>
            </a: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ＭＳ Ｐゴシック"/>
              </a:rPr>
              <a:t> 18 Months</a:t>
            </a:r>
          </a:p>
        </p:txBody>
      </p:sp>
    </p:spTree>
    <p:extLst>
      <p:ext uri="{BB962C8B-B14F-4D97-AF65-F5344CB8AC3E}">
        <p14:creationId xmlns:p14="http://schemas.microsoft.com/office/powerpoint/2010/main" val="4571036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8" name="Title 8"/>
          <p:cNvSpPr txBox="1">
            <a:spLocks/>
          </p:cNvSpPr>
          <p:nvPr/>
        </p:nvSpPr>
        <p:spPr>
          <a:xfrm>
            <a:off x="269157" y="153621"/>
            <a:ext cx="6944443" cy="49346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Reinstatement</a:t>
            </a:r>
          </a:p>
        </p:txBody>
      </p:sp>
      <p:cxnSp>
        <p:nvCxnSpPr>
          <p:cNvPr id="31" name="OTLSHAPE_M_2491646ac2c94835896cf8a48c4c0fdc_Connector1"/>
          <p:cNvCxnSpPr/>
          <p:nvPr>
            <p:custDataLst>
              <p:tags r:id="rId1"/>
            </p:custDataLst>
          </p:nvPr>
        </p:nvCxnSpPr>
        <p:spPr>
          <a:xfrm>
            <a:off x="3212039" y="1871801"/>
            <a:ext cx="21218" cy="2508784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615243" y="1607403"/>
            <a:ext cx="20771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Policy can be reinstated during the Insured's lifetime within three years after the termination date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258143" y="2391051"/>
            <a:ext cx="255355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2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The reinstatement is subject to providing satisfactory evidence of insurability to the company together with a payment of a Premium amount sufficient to keep the Policy in force for at least 12 months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076002" y="2680332"/>
            <a:ext cx="22751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200">
                <a:latin typeface="Arial" pitchFamily="34" charset="0"/>
                <a:ea typeface="ＭＳ Ｐゴシック" pitchFamily="34" charset="-128"/>
                <a:cs typeface="Arial" pitchFamily="34" charset="0"/>
              </a:rPr>
              <a:t>The Policy cannot be reinstated if it has been surrendered by the Owner for its Net Cash Surrender Value.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7" name="OTLSHAPE_M_2491646ac2c94835896cf8a48c4c0fdc_Connector1"/>
          <p:cNvCxnSpPr/>
          <p:nvPr>
            <p:custDataLst>
              <p:tags r:id="rId2"/>
            </p:custDataLst>
          </p:nvPr>
        </p:nvCxnSpPr>
        <p:spPr>
          <a:xfrm>
            <a:off x="-10520820" y="2438400"/>
            <a:ext cx="0" cy="1930759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556013" y="1280155"/>
            <a:ext cx="460773" cy="3106341"/>
            <a:chOff x="3166544" y="3274636"/>
            <a:chExt cx="33719" cy="686692"/>
          </a:xfrm>
        </p:grpSpPr>
        <p:cxnSp>
          <p:nvCxnSpPr>
            <p:cNvPr id="40" name="OTLSHAPE_M_2491646ac2c94835896cf8a48c4c0fdc_Connector1"/>
            <p:cNvCxnSpPr/>
            <p:nvPr>
              <p:custDataLst>
                <p:tags r:id="rId4"/>
              </p:custDataLst>
            </p:nvPr>
          </p:nvCxnSpPr>
          <p:spPr>
            <a:xfrm>
              <a:off x="3166544" y="3274636"/>
              <a:ext cx="0" cy="686692"/>
            </a:xfrm>
            <a:prstGeom prst="line">
              <a:avLst/>
            </a:prstGeom>
            <a:ln w="12700" cap="flat" cmpd="sng" algn="ctr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Pentagon 24"/>
            <p:cNvSpPr/>
            <p:nvPr/>
          </p:nvSpPr>
          <p:spPr>
            <a:xfrm>
              <a:off x="3170482" y="3277066"/>
              <a:ext cx="29781" cy="49229"/>
            </a:xfrm>
            <a:custGeom>
              <a:avLst/>
              <a:gdLst>
                <a:gd name="connsiteX0" fmla="*/ 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0 w 822960"/>
                <a:gd name="connsiteY5" fmla="*/ 0 h 822960"/>
                <a:gd name="connsiteX0" fmla="*/ 40640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406400 w 822960"/>
                <a:gd name="connsiteY5" fmla="*/ 0 h 822960"/>
                <a:gd name="connsiteX0" fmla="*/ 0 w 416560"/>
                <a:gd name="connsiteY0" fmla="*/ 0 h 822960"/>
                <a:gd name="connsiteX1" fmla="*/ 5080 w 416560"/>
                <a:gd name="connsiteY1" fmla="*/ 0 h 822960"/>
                <a:gd name="connsiteX2" fmla="*/ 416560 w 416560"/>
                <a:gd name="connsiteY2" fmla="*/ 411480 h 822960"/>
                <a:gd name="connsiteX3" fmla="*/ 5080 w 416560"/>
                <a:gd name="connsiteY3" fmla="*/ 822960 h 822960"/>
                <a:gd name="connsiteX4" fmla="*/ 0 w 416560"/>
                <a:gd name="connsiteY4" fmla="*/ 806027 h 822960"/>
                <a:gd name="connsiteX5" fmla="*/ 0 w 416560"/>
                <a:gd name="connsiteY5" fmla="*/ 0 h 82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6560" h="822960">
                  <a:moveTo>
                    <a:pt x="0" y="0"/>
                  </a:moveTo>
                  <a:lnTo>
                    <a:pt x="5080" y="0"/>
                  </a:lnTo>
                  <a:lnTo>
                    <a:pt x="416560" y="411480"/>
                  </a:lnTo>
                  <a:lnTo>
                    <a:pt x="5080" y="822960"/>
                  </a:lnTo>
                  <a:lnTo>
                    <a:pt x="0" y="806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cxnSp>
        <p:nvCxnSpPr>
          <p:cNvPr id="42" name="Straight Connector 41"/>
          <p:cNvCxnSpPr/>
          <p:nvPr/>
        </p:nvCxnSpPr>
        <p:spPr>
          <a:xfrm flipV="1">
            <a:off x="304664" y="4369159"/>
            <a:ext cx="8052138" cy="9774"/>
          </a:xfrm>
          <a:prstGeom prst="line">
            <a:avLst/>
          </a:prstGeom>
          <a:ln w="6350" cmpd="sng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entagon 24"/>
          <p:cNvSpPr/>
          <p:nvPr/>
        </p:nvSpPr>
        <p:spPr>
          <a:xfrm>
            <a:off x="3247983" y="1871801"/>
            <a:ext cx="406960" cy="222694"/>
          </a:xfrm>
          <a:custGeom>
            <a:avLst/>
            <a:gdLst>
              <a:gd name="connsiteX0" fmla="*/ 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0 w 822960"/>
              <a:gd name="connsiteY5" fmla="*/ 0 h 822960"/>
              <a:gd name="connsiteX0" fmla="*/ 40640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406400 w 822960"/>
              <a:gd name="connsiteY5" fmla="*/ 0 h 822960"/>
              <a:gd name="connsiteX0" fmla="*/ 0 w 416560"/>
              <a:gd name="connsiteY0" fmla="*/ 0 h 822960"/>
              <a:gd name="connsiteX1" fmla="*/ 5080 w 416560"/>
              <a:gd name="connsiteY1" fmla="*/ 0 h 822960"/>
              <a:gd name="connsiteX2" fmla="*/ 416560 w 416560"/>
              <a:gd name="connsiteY2" fmla="*/ 411480 h 822960"/>
              <a:gd name="connsiteX3" fmla="*/ 5080 w 416560"/>
              <a:gd name="connsiteY3" fmla="*/ 822960 h 822960"/>
              <a:gd name="connsiteX4" fmla="*/ 0 w 416560"/>
              <a:gd name="connsiteY4" fmla="*/ 806027 h 822960"/>
              <a:gd name="connsiteX5" fmla="*/ 0 w 416560"/>
              <a:gd name="connsiteY5" fmla="*/ 0 h 82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560" h="822960">
                <a:moveTo>
                  <a:pt x="0" y="0"/>
                </a:moveTo>
                <a:lnTo>
                  <a:pt x="5080" y="0"/>
                </a:lnTo>
                <a:lnTo>
                  <a:pt x="416560" y="411480"/>
                </a:lnTo>
                <a:lnTo>
                  <a:pt x="5080" y="822960"/>
                </a:lnTo>
                <a:lnTo>
                  <a:pt x="0" y="80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chemeClr val="accent1"/>
              </a:solidFill>
            </a:endParaRPr>
          </a:p>
        </p:txBody>
      </p:sp>
      <p:sp>
        <p:nvSpPr>
          <p:cNvPr id="50" name="Pentagon 24"/>
          <p:cNvSpPr/>
          <p:nvPr/>
        </p:nvSpPr>
        <p:spPr>
          <a:xfrm>
            <a:off x="6132018" y="2438400"/>
            <a:ext cx="406960" cy="222694"/>
          </a:xfrm>
          <a:custGeom>
            <a:avLst/>
            <a:gdLst>
              <a:gd name="connsiteX0" fmla="*/ 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0 w 822960"/>
              <a:gd name="connsiteY5" fmla="*/ 0 h 822960"/>
              <a:gd name="connsiteX0" fmla="*/ 406400 w 822960"/>
              <a:gd name="connsiteY0" fmla="*/ 0 h 822960"/>
              <a:gd name="connsiteX1" fmla="*/ 411480 w 822960"/>
              <a:gd name="connsiteY1" fmla="*/ 0 h 822960"/>
              <a:gd name="connsiteX2" fmla="*/ 822960 w 822960"/>
              <a:gd name="connsiteY2" fmla="*/ 411480 h 822960"/>
              <a:gd name="connsiteX3" fmla="*/ 411480 w 822960"/>
              <a:gd name="connsiteY3" fmla="*/ 822960 h 822960"/>
              <a:gd name="connsiteX4" fmla="*/ 0 w 822960"/>
              <a:gd name="connsiteY4" fmla="*/ 822960 h 822960"/>
              <a:gd name="connsiteX5" fmla="*/ 406400 w 822960"/>
              <a:gd name="connsiteY5" fmla="*/ 0 h 822960"/>
              <a:gd name="connsiteX0" fmla="*/ 0 w 416560"/>
              <a:gd name="connsiteY0" fmla="*/ 0 h 822960"/>
              <a:gd name="connsiteX1" fmla="*/ 5080 w 416560"/>
              <a:gd name="connsiteY1" fmla="*/ 0 h 822960"/>
              <a:gd name="connsiteX2" fmla="*/ 416560 w 416560"/>
              <a:gd name="connsiteY2" fmla="*/ 411480 h 822960"/>
              <a:gd name="connsiteX3" fmla="*/ 5080 w 416560"/>
              <a:gd name="connsiteY3" fmla="*/ 822960 h 822960"/>
              <a:gd name="connsiteX4" fmla="*/ 0 w 416560"/>
              <a:gd name="connsiteY4" fmla="*/ 806027 h 822960"/>
              <a:gd name="connsiteX5" fmla="*/ 0 w 416560"/>
              <a:gd name="connsiteY5" fmla="*/ 0 h 82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560" h="822960">
                <a:moveTo>
                  <a:pt x="0" y="0"/>
                </a:moveTo>
                <a:lnTo>
                  <a:pt x="5080" y="0"/>
                </a:lnTo>
                <a:lnTo>
                  <a:pt x="416560" y="411480"/>
                </a:lnTo>
                <a:lnTo>
                  <a:pt x="5080" y="822960"/>
                </a:lnTo>
                <a:lnTo>
                  <a:pt x="0" y="80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cxnSp>
        <p:nvCxnSpPr>
          <p:cNvPr id="51" name="OTLSHAPE_M_2491646ac2c94835896cf8a48c4c0fdc_Connector1"/>
          <p:cNvCxnSpPr/>
          <p:nvPr>
            <p:custDataLst>
              <p:tags r:id="rId3"/>
            </p:custDataLst>
          </p:nvPr>
        </p:nvCxnSpPr>
        <p:spPr>
          <a:xfrm>
            <a:off x="6081606" y="2438400"/>
            <a:ext cx="14468" cy="1956941"/>
          </a:xfrm>
          <a:prstGeom prst="line">
            <a:avLst/>
          </a:prstGeom>
          <a:ln w="12700" cap="flat" cmpd="sng" algn="ctr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54134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7410601" y="4811514"/>
            <a:ext cx="508820" cy="273844"/>
          </a:xfrm>
          <a:prstGeom prst="rect">
            <a:avLst/>
          </a:prstGeom>
        </p:spPr>
        <p:txBody>
          <a:bodyPr/>
          <a:lstStyle/>
          <a:p>
            <a:fld id="{3A5D2E96-09D4-684C-BDED-6024B7F4284C}" type="slidenum">
              <a:rPr lang="en-US" smtClean="0"/>
              <a:t>24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518066" y="0"/>
            <a:ext cx="132215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" name="Rectangle 5"/>
          <p:cNvSpPr/>
          <p:nvPr/>
        </p:nvSpPr>
        <p:spPr>
          <a:xfrm>
            <a:off x="0" y="1"/>
            <a:ext cx="5237019" cy="51434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30994"/>
            <a:r>
              <a:rPr lang="en-GB" sz="2550" b="1" dirty="0">
                <a:latin typeface="Georgia" panose="02040502050405020303" pitchFamily="18" charset="0"/>
              </a:rPr>
              <a:t>Thank You</a:t>
            </a:r>
            <a:endParaRPr lang="en-GB" sz="2550" dirty="0">
              <a:latin typeface="Georgia" panose="02040502050405020303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97047" y="0"/>
            <a:ext cx="2946953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8" name="Rectangle 7"/>
          <p:cNvSpPr/>
          <p:nvPr/>
        </p:nvSpPr>
        <p:spPr>
          <a:xfrm>
            <a:off x="5749788" y="0"/>
            <a:ext cx="551621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319582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8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/>
          <a:lstStyle/>
          <a:p>
            <a:r>
              <a:rPr lang="en-US" sz="2800" dirty="0"/>
              <a:t>Product Positioning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69157" y="614014"/>
            <a:ext cx="6948752" cy="29747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Designed for your needs today and ambitions tomorrow</a:t>
            </a:r>
          </a:p>
        </p:txBody>
      </p:sp>
      <p:sp>
        <p:nvSpPr>
          <p:cNvPr id="26" name="Rectangle 25"/>
          <p:cNvSpPr/>
          <p:nvPr/>
        </p:nvSpPr>
        <p:spPr>
          <a:xfrm>
            <a:off x="627435" y="2437649"/>
            <a:ext cx="17431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eaLnBrk="0" fontAlgn="base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 b="1" dirty="0"/>
              <a:t>Wealth Creation</a:t>
            </a:r>
            <a:endParaRPr lang="en-GB" sz="1200" kern="0" dirty="0"/>
          </a:p>
        </p:txBody>
      </p:sp>
      <p:sp>
        <p:nvSpPr>
          <p:cNvPr id="27" name="Rectangle 26"/>
          <p:cNvSpPr/>
          <p:nvPr/>
        </p:nvSpPr>
        <p:spPr>
          <a:xfrm>
            <a:off x="3266665" y="2452520"/>
            <a:ext cx="17431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eaLnBrk="0" fontAlgn="base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200" b="1" dirty="0"/>
              <a:t>Child Education</a:t>
            </a:r>
            <a:endParaRPr lang="en-GB" sz="1200" kern="0" dirty="0"/>
          </a:p>
        </p:txBody>
      </p:sp>
      <p:sp>
        <p:nvSpPr>
          <p:cNvPr id="28" name="Rectangle 27"/>
          <p:cNvSpPr/>
          <p:nvPr/>
        </p:nvSpPr>
        <p:spPr>
          <a:xfrm>
            <a:off x="5905894" y="2452520"/>
            <a:ext cx="20140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Retirement Planning</a:t>
            </a:r>
            <a:endParaRPr lang="en-US" sz="1200" dirty="0"/>
          </a:p>
        </p:txBody>
      </p:sp>
      <p:sp>
        <p:nvSpPr>
          <p:cNvPr id="29" name="Rectangle 28"/>
          <p:cNvSpPr/>
          <p:nvPr/>
        </p:nvSpPr>
        <p:spPr>
          <a:xfrm>
            <a:off x="1923174" y="3963812"/>
            <a:ext cx="20140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/>
              <a:t>Marriage Planning</a:t>
            </a:r>
            <a:endParaRPr lang="en-US" sz="1200" dirty="0"/>
          </a:p>
        </p:txBody>
      </p:sp>
      <p:sp>
        <p:nvSpPr>
          <p:cNvPr id="30" name="Rectangle 29"/>
          <p:cNvSpPr/>
          <p:nvPr/>
        </p:nvSpPr>
        <p:spPr>
          <a:xfrm>
            <a:off x="4806625" y="3963812"/>
            <a:ext cx="20140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Legacy Planning</a:t>
            </a:r>
            <a:endParaRPr lang="en-US" sz="1200" dirty="0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101" y="1504860"/>
            <a:ext cx="991828" cy="99182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104" y="1675048"/>
            <a:ext cx="715865" cy="71586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4273" y="3194291"/>
            <a:ext cx="991828" cy="76952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141" y="1633993"/>
            <a:ext cx="991828" cy="99182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8877" y="3194290"/>
            <a:ext cx="769521" cy="769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17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roduct Offering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9" name="TextBox 48"/>
          <p:cNvSpPr txBox="1"/>
          <p:nvPr/>
        </p:nvSpPr>
        <p:spPr>
          <a:xfrm>
            <a:off x="1074845" y="802970"/>
            <a:ext cx="4320116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</a:pPr>
            <a:r>
              <a:rPr lang="en-US" sz="1600" b="1" kern="0" dirty="0">
                <a:solidFill>
                  <a:srgbClr val="0070C0"/>
                </a:solidFill>
              </a:rPr>
              <a:t>How It Benefits You</a:t>
            </a:r>
            <a:endParaRPr lang="en-US" sz="1600" dirty="0"/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Flexible – Plan term can differ from premium payment term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No Surrender penalty upon completion of 48 months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Open ended plan term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Direct Funds &amp; Multi-Asset Model Portfolios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Portability – truly global product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Free Online premium payment 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Nil Credit Card Charge</a:t>
            </a: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57" y="922566"/>
            <a:ext cx="717753" cy="717753"/>
          </a:xfrm>
          <a:prstGeom prst="rect">
            <a:avLst/>
          </a:prstGeom>
        </p:spPr>
      </p:pic>
      <p:sp>
        <p:nvSpPr>
          <p:cNvPr id="53" name="Rectangle 52"/>
          <p:cNvSpPr/>
          <p:nvPr/>
        </p:nvSpPr>
        <p:spPr>
          <a:xfrm>
            <a:off x="4818877" y="1127013"/>
            <a:ext cx="3837443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30 days Free-look period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Excess Premium up to 10 times Annual Premium Payment </a:t>
            </a:r>
            <a:endParaRPr lang="en-US" sz="1000" strike="sngStrike" dirty="0">
              <a:solidFill>
                <a:srgbClr val="FF0000"/>
              </a:solidFill>
            </a:endParaRP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No Modal Load 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No Lapse Guarantee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Unique free benefits  </a:t>
            </a:r>
          </a:p>
          <a:p>
            <a:pPr marL="285750" indent="-285750">
              <a:spcBef>
                <a:spcPts val="600"/>
              </a:spcBef>
              <a:buFont typeface="Wingdings" charset="2"/>
              <a:buChar char="ü"/>
            </a:pPr>
            <a:r>
              <a:rPr lang="en-US" sz="1000" dirty="0"/>
              <a:t>Multiple optional Benefits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628033" y="3237278"/>
            <a:ext cx="7616168" cy="1289628"/>
            <a:chOff x="217192" y="3291839"/>
            <a:chExt cx="7616168" cy="1289628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033" y="3291839"/>
              <a:ext cx="568443" cy="566353"/>
            </a:xfrm>
            <a:prstGeom prst="rect">
              <a:avLst/>
            </a:prstGeom>
          </p:spPr>
        </p:pic>
        <p:sp>
          <p:nvSpPr>
            <p:cNvPr id="55" name="Rectangle 54"/>
            <p:cNvSpPr/>
            <p:nvPr/>
          </p:nvSpPr>
          <p:spPr>
            <a:xfrm>
              <a:off x="217192" y="3858192"/>
              <a:ext cx="1390124" cy="4462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900" b="1" dirty="0"/>
                <a:t>Age of Eligibility:</a:t>
              </a:r>
            </a:p>
            <a:p>
              <a:pPr algn="ctr">
                <a:spcBef>
                  <a:spcPts val="600"/>
                </a:spcBef>
              </a:pPr>
              <a:r>
                <a:rPr lang="en-US" sz="900" dirty="0"/>
                <a:t>1 month to 85 years old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1648640" y="3858192"/>
              <a:ext cx="1392347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900" b="1" dirty="0"/>
                <a:t>Mode of Payment:</a:t>
              </a:r>
            </a:p>
            <a:p>
              <a:pPr algn="ctr">
                <a:spcBef>
                  <a:spcPts val="600"/>
                </a:spcBef>
              </a:pPr>
              <a:r>
                <a:rPr lang="en-US" sz="900" dirty="0"/>
                <a:t>Monthly, Quarterly, Semi-annually or Annually</a:t>
              </a: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3121840" y="3858192"/>
              <a:ext cx="1392347" cy="4462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900" b="1" dirty="0"/>
                <a:t>Payment Term:</a:t>
              </a:r>
            </a:p>
            <a:p>
              <a:pPr algn="ctr">
                <a:spcBef>
                  <a:spcPts val="600"/>
                </a:spcBef>
              </a:pPr>
              <a:r>
                <a:rPr lang="en-US" sz="900" dirty="0"/>
                <a:t>5 to 25 years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4698787" y="3858192"/>
              <a:ext cx="1392347" cy="4462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900" b="1" dirty="0"/>
                <a:t>Currency:</a:t>
              </a:r>
            </a:p>
            <a:p>
              <a:pPr algn="ctr">
                <a:spcBef>
                  <a:spcPts val="600"/>
                </a:spcBef>
              </a:pPr>
              <a:r>
                <a:rPr lang="en-US" sz="900" dirty="0"/>
                <a:t>USD, GBP, EUR</a:t>
              </a: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324387" y="3858192"/>
              <a:ext cx="1508973" cy="4462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900" b="1" dirty="0"/>
                <a:t>Maximum Maturity Age:</a:t>
              </a:r>
            </a:p>
            <a:p>
              <a:pPr algn="ctr">
                <a:spcBef>
                  <a:spcPts val="600"/>
                </a:spcBef>
              </a:pPr>
              <a:r>
                <a:rPr lang="en-US" sz="900" dirty="0"/>
                <a:t>95 years old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B5EBF141-E4D0-4E3B-A122-86EF7F51964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49558" y="3323704"/>
              <a:ext cx="488986" cy="492662"/>
              <a:chOff x="1955800" y="2979737"/>
              <a:chExt cx="211138" cy="212725"/>
            </a:xfrm>
          </p:grpSpPr>
          <p:sp>
            <p:nvSpPr>
              <p:cNvPr id="72" name="Freeform 245">
                <a:extLst>
                  <a:ext uri="{FF2B5EF4-FFF2-40B4-BE49-F238E27FC236}">
                    <a16:creationId xmlns:a16="http://schemas.microsoft.com/office/drawing/2014/main" id="{352530CA-F03C-4B13-B30C-AB6C5CE18D5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1955006" y="2980531"/>
                <a:ext cx="212725" cy="211138"/>
              </a:xfrm>
              <a:custGeom>
                <a:avLst/>
                <a:gdLst>
                  <a:gd name="T0" fmla="*/ 204 w 408"/>
                  <a:gd name="T1" fmla="*/ 0 h 406"/>
                  <a:gd name="T2" fmla="*/ 408 w 408"/>
                  <a:gd name="T3" fmla="*/ 204 h 406"/>
                  <a:gd name="T4" fmla="*/ 204 w 408"/>
                  <a:gd name="T5" fmla="*/ 406 h 406"/>
                  <a:gd name="T6" fmla="*/ 0 w 408"/>
                  <a:gd name="T7" fmla="*/ 204 h 406"/>
                  <a:gd name="T8" fmla="*/ 204 w 408"/>
                  <a:gd name="T9" fmla="*/ 0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8" h="406">
                    <a:moveTo>
                      <a:pt x="204" y="0"/>
                    </a:moveTo>
                    <a:cubicBezTo>
                      <a:pt x="316" y="0"/>
                      <a:pt x="408" y="90"/>
                      <a:pt x="408" y="204"/>
                    </a:cubicBezTo>
                    <a:cubicBezTo>
                      <a:pt x="408" y="316"/>
                      <a:pt x="316" y="406"/>
                      <a:pt x="204" y="406"/>
                    </a:cubicBezTo>
                    <a:cubicBezTo>
                      <a:pt x="90" y="406"/>
                      <a:pt x="0" y="316"/>
                      <a:pt x="0" y="204"/>
                    </a:cubicBezTo>
                    <a:cubicBezTo>
                      <a:pt x="0" y="90"/>
                      <a:pt x="90" y="0"/>
                      <a:pt x="204" y="0"/>
                    </a:cubicBezTo>
                    <a:close/>
                  </a:path>
                </a:pathLst>
              </a:custGeom>
              <a:solidFill>
                <a:srgbClr val="228E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46">
                <a:extLst>
                  <a:ext uri="{FF2B5EF4-FFF2-40B4-BE49-F238E27FC236}">
                    <a16:creationId xmlns:a16="http://schemas.microsoft.com/office/drawing/2014/main" id="{A3350D5E-C7B3-4D9E-BC0A-722D2E67A9F3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1986756" y="3012281"/>
                <a:ext cx="149225" cy="147638"/>
              </a:xfrm>
              <a:custGeom>
                <a:avLst/>
                <a:gdLst>
                  <a:gd name="T0" fmla="*/ 144 w 288"/>
                  <a:gd name="T1" fmla="*/ 0 h 286"/>
                  <a:gd name="T2" fmla="*/ 288 w 288"/>
                  <a:gd name="T3" fmla="*/ 144 h 286"/>
                  <a:gd name="T4" fmla="*/ 144 w 288"/>
                  <a:gd name="T5" fmla="*/ 286 h 286"/>
                  <a:gd name="T6" fmla="*/ 0 w 288"/>
                  <a:gd name="T7" fmla="*/ 144 h 286"/>
                  <a:gd name="T8" fmla="*/ 144 w 288"/>
                  <a:gd name="T9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8" h="286">
                    <a:moveTo>
                      <a:pt x="144" y="0"/>
                    </a:moveTo>
                    <a:cubicBezTo>
                      <a:pt x="222" y="0"/>
                      <a:pt x="288" y="64"/>
                      <a:pt x="288" y="144"/>
                    </a:cubicBezTo>
                    <a:cubicBezTo>
                      <a:pt x="288" y="222"/>
                      <a:pt x="222" y="286"/>
                      <a:pt x="144" y="286"/>
                    </a:cubicBezTo>
                    <a:cubicBezTo>
                      <a:pt x="64" y="286"/>
                      <a:pt x="0" y="222"/>
                      <a:pt x="0" y="144"/>
                    </a:cubicBezTo>
                    <a:cubicBezTo>
                      <a:pt x="0" y="64"/>
                      <a:pt x="64" y="0"/>
                      <a:pt x="144" y="0"/>
                    </a:cubicBezTo>
                    <a:close/>
                  </a:path>
                </a:pathLst>
              </a:custGeom>
              <a:solidFill>
                <a:srgbClr val="0061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47">
                <a:extLst>
                  <a:ext uri="{FF2B5EF4-FFF2-40B4-BE49-F238E27FC236}">
                    <a16:creationId xmlns:a16="http://schemas.microsoft.com/office/drawing/2014/main" id="{9F325C91-AAB5-4E25-BDBF-EE28B5A2007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2022475" y="3054350"/>
                <a:ext cx="53975" cy="25400"/>
              </a:xfrm>
              <a:custGeom>
                <a:avLst/>
                <a:gdLst>
                  <a:gd name="T0" fmla="*/ 22 w 104"/>
                  <a:gd name="T1" fmla="*/ 10 h 48"/>
                  <a:gd name="T2" fmla="*/ 62 w 104"/>
                  <a:gd name="T3" fmla="*/ 48 h 48"/>
                  <a:gd name="T4" fmla="*/ 100 w 104"/>
                  <a:gd name="T5" fmla="*/ 14 h 48"/>
                  <a:gd name="T6" fmla="*/ 104 w 104"/>
                  <a:gd name="T7" fmla="*/ 0 h 48"/>
                  <a:gd name="T8" fmla="*/ 76 w 104"/>
                  <a:gd name="T9" fmla="*/ 0 h 48"/>
                  <a:gd name="T10" fmla="*/ 74 w 104"/>
                  <a:gd name="T11" fmla="*/ 8 h 48"/>
                  <a:gd name="T12" fmla="*/ 60 w 104"/>
                  <a:gd name="T13" fmla="*/ 22 h 48"/>
                  <a:gd name="T14" fmla="*/ 44 w 104"/>
                  <a:gd name="T15" fmla="*/ 2 h 48"/>
                  <a:gd name="T16" fmla="*/ 44 w 104"/>
                  <a:gd name="T17" fmla="*/ 0 h 48"/>
                  <a:gd name="T18" fmla="*/ 0 w 104"/>
                  <a:gd name="T19" fmla="*/ 0 h 48"/>
                  <a:gd name="T20" fmla="*/ 0 w 104"/>
                  <a:gd name="T21" fmla="*/ 10 h 48"/>
                  <a:gd name="T22" fmla="*/ 22 w 104"/>
                  <a:gd name="T23" fmla="*/ 1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4" h="48">
                    <a:moveTo>
                      <a:pt x="22" y="10"/>
                    </a:moveTo>
                    <a:cubicBezTo>
                      <a:pt x="26" y="32"/>
                      <a:pt x="40" y="48"/>
                      <a:pt x="62" y="48"/>
                    </a:cubicBezTo>
                    <a:cubicBezTo>
                      <a:pt x="82" y="48"/>
                      <a:pt x="96" y="36"/>
                      <a:pt x="100" y="14"/>
                    </a:cubicBezTo>
                    <a:lnTo>
                      <a:pt x="104" y="0"/>
                    </a:lnTo>
                    <a:lnTo>
                      <a:pt x="76" y="0"/>
                    </a:lnTo>
                    <a:lnTo>
                      <a:pt x="74" y="8"/>
                    </a:lnTo>
                    <a:cubicBezTo>
                      <a:pt x="72" y="18"/>
                      <a:pt x="66" y="22"/>
                      <a:pt x="60" y="22"/>
                    </a:cubicBezTo>
                    <a:cubicBezTo>
                      <a:pt x="52" y="22"/>
                      <a:pt x="44" y="14"/>
                      <a:pt x="44" y="2"/>
                    </a:cubicBezTo>
                    <a:lnTo>
                      <a:pt x="44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22" y="10"/>
                    </a:lnTo>
                    <a:close/>
                  </a:path>
                </a:pathLst>
              </a:custGeom>
              <a:solidFill>
                <a:srgbClr val="A4CF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248">
                <a:extLst>
                  <a:ext uri="{FF2B5EF4-FFF2-40B4-BE49-F238E27FC236}">
                    <a16:creationId xmlns:a16="http://schemas.microsoft.com/office/drawing/2014/main" id="{143874EC-5EB7-4B6F-918D-42AB45FABA47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2029619" y="3101181"/>
                <a:ext cx="36513" cy="28575"/>
              </a:xfrm>
              <a:custGeom>
                <a:avLst/>
                <a:gdLst>
                  <a:gd name="T0" fmla="*/ 24 w 68"/>
                  <a:gd name="T1" fmla="*/ 0 h 54"/>
                  <a:gd name="T2" fmla="*/ 0 w 68"/>
                  <a:gd name="T3" fmla="*/ 28 h 54"/>
                  <a:gd name="T4" fmla="*/ 6 w 68"/>
                  <a:gd name="T5" fmla="*/ 54 h 54"/>
                  <a:gd name="T6" fmla="*/ 46 w 68"/>
                  <a:gd name="T7" fmla="*/ 10 h 54"/>
                  <a:gd name="T8" fmla="*/ 68 w 68"/>
                  <a:gd name="T9" fmla="*/ 10 h 54"/>
                  <a:gd name="T10" fmla="*/ 68 w 68"/>
                  <a:gd name="T11" fmla="*/ 0 h 54"/>
                  <a:gd name="T12" fmla="*/ 24 w 68"/>
                  <a:gd name="T13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54">
                    <a:moveTo>
                      <a:pt x="24" y="0"/>
                    </a:moveTo>
                    <a:cubicBezTo>
                      <a:pt x="24" y="20"/>
                      <a:pt x="12" y="28"/>
                      <a:pt x="0" y="28"/>
                    </a:cubicBezTo>
                    <a:lnTo>
                      <a:pt x="6" y="54"/>
                    </a:lnTo>
                    <a:cubicBezTo>
                      <a:pt x="22" y="52"/>
                      <a:pt x="42" y="38"/>
                      <a:pt x="46" y="10"/>
                    </a:cubicBezTo>
                    <a:lnTo>
                      <a:pt x="68" y="10"/>
                    </a:lnTo>
                    <a:lnTo>
                      <a:pt x="68" y="0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A4CF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249">
                <a:extLst>
                  <a:ext uri="{FF2B5EF4-FFF2-40B4-BE49-F238E27FC236}">
                    <a16:creationId xmlns:a16="http://schemas.microsoft.com/office/drawing/2014/main" id="{F707EC45-63BC-42DB-A7F9-CA5DA4FBF5E9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2047081" y="3094831"/>
                <a:ext cx="53975" cy="23813"/>
              </a:xfrm>
              <a:custGeom>
                <a:avLst/>
                <a:gdLst>
                  <a:gd name="T0" fmla="*/ 28 w 102"/>
                  <a:gd name="T1" fmla="*/ 42 h 48"/>
                  <a:gd name="T2" fmla="*/ 42 w 102"/>
                  <a:gd name="T3" fmla="*/ 28 h 48"/>
                  <a:gd name="T4" fmla="*/ 58 w 102"/>
                  <a:gd name="T5" fmla="*/ 48 h 48"/>
                  <a:gd name="T6" fmla="*/ 102 w 102"/>
                  <a:gd name="T7" fmla="*/ 48 h 48"/>
                  <a:gd name="T8" fmla="*/ 102 w 102"/>
                  <a:gd name="T9" fmla="*/ 38 h 48"/>
                  <a:gd name="T10" fmla="*/ 80 w 102"/>
                  <a:gd name="T11" fmla="*/ 38 h 48"/>
                  <a:gd name="T12" fmla="*/ 42 w 102"/>
                  <a:gd name="T13" fmla="*/ 0 h 48"/>
                  <a:gd name="T14" fmla="*/ 2 w 102"/>
                  <a:gd name="T15" fmla="*/ 38 h 48"/>
                  <a:gd name="T16" fmla="*/ 0 w 102"/>
                  <a:gd name="T17" fmla="*/ 48 h 48"/>
                  <a:gd name="T18" fmla="*/ 28 w 102"/>
                  <a:gd name="T19" fmla="*/ 48 h 48"/>
                  <a:gd name="T20" fmla="*/ 28 w 102"/>
                  <a:gd name="T21" fmla="*/ 4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2" h="48">
                    <a:moveTo>
                      <a:pt x="28" y="42"/>
                    </a:moveTo>
                    <a:cubicBezTo>
                      <a:pt x="30" y="32"/>
                      <a:pt x="36" y="28"/>
                      <a:pt x="42" y="28"/>
                    </a:cubicBezTo>
                    <a:cubicBezTo>
                      <a:pt x="52" y="28"/>
                      <a:pt x="58" y="36"/>
                      <a:pt x="58" y="48"/>
                    </a:cubicBezTo>
                    <a:lnTo>
                      <a:pt x="102" y="48"/>
                    </a:lnTo>
                    <a:lnTo>
                      <a:pt x="102" y="38"/>
                    </a:lnTo>
                    <a:lnTo>
                      <a:pt x="80" y="38"/>
                    </a:lnTo>
                    <a:cubicBezTo>
                      <a:pt x="76" y="14"/>
                      <a:pt x="60" y="0"/>
                      <a:pt x="42" y="0"/>
                    </a:cubicBezTo>
                    <a:cubicBezTo>
                      <a:pt x="22" y="0"/>
                      <a:pt x="8" y="12"/>
                      <a:pt x="2" y="38"/>
                    </a:cubicBezTo>
                    <a:lnTo>
                      <a:pt x="0" y="48"/>
                    </a:lnTo>
                    <a:lnTo>
                      <a:pt x="28" y="48"/>
                    </a:lnTo>
                    <a:lnTo>
                      <a:pt x="28" y="42"/>
                    </a:lnTo>
                    <a:close/>
                  </a:path>
                </a:pathLst>
              </a:custGeom>
              <a:solidFill>
                <a:srgbClr val="A4CF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250">
                <a:extLst>
                  <a:ext uri="{FF2B5EF4-FFF2-40B4-BE49-F238E27FC236}">
                    <a16:creationId xmlns:a16="http://schemas.microsoft.com/office/drawing/2014/main" id="{CDAFA41C-0E79-4355-8E16-7C06E258ACFB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2057400" y="3044825"/>
                <a:ext cx="33338" cy="23813"/>
              </a:xfrm>
              <a:custGeom>
                <a:avLst/>
                <a:gdLst>
                  <a:gd name="T0" fmla="*/ 64 w 64"/>
                  <a:gd name="T1" fmla="*/ 24 h 46"/>
                  <a:gd name="T2" fmla="*/ 56 w 64"/>
                  <a:gd name="T3" fmla="*/ 0 h 46"/>
                  <a:gd name="T4" fmla="*/ 22 w 64"/>
                  <a:gd name="T5" fmla="*/ 36 h 46"/>
                  <a:gd name="T6" fmla="*/ 0 w 64"/>
                  <a:gd name="T7" fmla="*/ 36 h 46"/>
                  <a:gd name="T8" fmla="*/ 0 w 64"/>
                  <a:gd name="T9" fmla="*/ 46 h 46"/>
                  <a:gd name="T10" fmla="*/ 44 w 64"/>
                  <a:gd name="T11" fmla="*/ 46 h 46"/>
                  <a:gd name="T12" fmla="*/ 64 w 64"/>
                  <a:gd name="T1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46">
                    <a:moveTo>
                      <a:pt x="64" y="24"/>
                    </a:moveTo>
                    <a:lnTo>
                      <a:pt x="56" y="0"/>
                    </a:lnTo>
                    <a:cubicBezTo>
                      <a:pt x="42" y="2"/>
                      <a:pt x="26" y="12"/>
                      <a:pt x="22" y="36"/>
                    </a:cubicBezTo>
                    <a:lnTo>
                      <a:pt x="0" y="36"/>
                    </a:lnTo>
                    <a:lnTo>
                      <a:pt x="0" y="46"/>
                    </a:lnTo>
                    <a:lnTo>
                      <a:pt x="44" y="46"/>
                    </a:lnTo>
                    <a:cubicBezTo>
                      <a:pt x="46" y="32"/>
                      <a:pt x="56" y="26"/>
                      <a:pt x="64" y="24"/>
                    </a:cubicBezTo>
                    <a:close/>
                  </a:path>
                </a:pathLst>
              </a:custGeom>
              <a:solidFill>
                <a:srgbClr val="A4CF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565761" y="3336168"/>
              <a:ext cx="504503" cy="504503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1790" y="3304026"/>
              <a:ext cx="554166" cy="554166"/>
            </a:xfrm>
            <a:prstGeom prst="rect">
              <a:avLst/>
            </a:prstGeom>
          </p:spPr>
        </p:pic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4340" y="3304025"/>
              <a:ext cx="532135" cy="5321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263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exibilit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794573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67002" y="2596638"/>
            <a:ext cx="6948752" cy="297472"/>
          </a:xfrm>
        </p:spPr>
        <p:txBody>
          <a:bodyPr/>
          <a:lstStyle/>
          <a:p>
            <a:pPr defTabSz="914400" eaLnBrk="0" fontAlgn="base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dirty="0"/>
              <a:t>Customizable Objective linked Savings Plan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1101117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/>
          </p:nvPr>
        </p:nvSpPr>
        <p:spPr>
          <a:xfrm>
            <a:off x="269157" y="153621"/>
            <a:ext cx="6944443" cy="493465"/>
          </a:xfrm>
        </p:spPr>
        <p:txBody>
          <a:bodyPr/>
          <a:lstStyle/>
          <a:p>
            <a:r>
              <a:rPr lang="en-US" sz="2800" dirty="0"/>
              <a:t>Flexible Premium Payment</a:t>
            </a:r>
          </a:p>
        </p:txBody>
      </p:sp>
      <p:sp>
        <p:nvSpPr>
          <p:cNvPr id="3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6802" y="4811507"/>
            <a:ext cx="67842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1196191" y="3067940"/>
            <a:ext cx="2094721" cy="536829"/>
          </a:xfrm>
          <a:prstGeom prst="rect">
            <a:avLst/>
          </a:prstGeom>
          <a:noFill/>
          <a:ln w="12700" cmpd="sng">
            <a:solidFill>
              <a:srgbClr val="0090DA"/>
            </a:solidFill>
            <a:prstDash val="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rgbClr val="000000"/>
                </a:solidFill>
              </a:rPr>
              <a:t>Premium term 5 to 10 yea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76785C8-7401-4FBF-BD49-AE20ED1CC7FA}"/>
              </a:ext>
            </a:extLst>
          </p:cNvPr>
          <p:cNvGrpSpPr/>
          <p:nvPr/>
        </p:nvGrpSpPr>
        <p:grpSpPr>
          <a:xfrm>
            <a:off x="1204660" y="825702"/>
            <a:ext cx="5097618" cy="1885629"/>
            <a:chOff x="391860" y="825702"/>
            <a:chExt cx="5097618" cy="1885629"/>
          </a:xfrm>
        </p:grpSpPr>
        <p:grpSp>
          <p:nvGrpSpPr>
            <p:cNvPr id="43" name="Group 42"/>
            <p:cNvGrpSpPr/>
            <p:nvPr/>
          </p:nvGrpSpPr>
          <p:grpSpPr>
            <a:xfrm>
              <a:off x="391860" y="825702"/>
              <a:ext cx="5097618" cy="1885629"/>
              <a:chOff x="1277782" y="2688061"/>
              <a:chExt cx="5097618" cy="1885629"/>
            </a:xfrm>
          </p:grpSpPr>
          <p:grpSp>
            <p:nvGrpSpPr>
              <p:cNvPr id="44" name="Group 43"/>
              <p:cNvGrpSpPr/>
              <p:nvPr/>
            </p:nvGrpSpPr>
            <p:grpSpPr>
              <a:xfrm>
                <a:off x="1277782" y="2688061"/>
                <a:ext cx="1724949" cy="1885629"/>
                <a:chOff x="6631870" y="886408"/>
                <a:chExt cx="1582983" cy="1885629"/>
              </a:xfrm>
            </p:grpSpPr>
            <p:sp>
              <p:nvSpPr>
                <p:cNvPr id="49" name="Rectangle 48"/>
                <p:cNvSpPr/>
                <p:nvPr/>
              </p:nvSpPr>
              <p:spPr>
                <a:xfrm>
                  <a:off x="6632057" y="886408"/>
                  <a:ext cx="1582796" cy="442441"/>
                </a:xfrm>
                <a:prstGeom prst="rect">
                  <a:avLst/>
                </a:pr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7F7F7F">
                        <a:lumMod val="50000"/>
                      </a:srgbClr>
                    </a:buClr>
                    <a:defRPr/>
                  </a:pPr>
                  <a:r>
                    <a:rPr lang="en-US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Premium Term</a:t>
                  </a:r>
                </a:p>
                <a:p>
                  <a:pPr lvl="0"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7F7F7F">
                        <a:lumMod val="50000"/>
                      </a:srgbClr>
                    </a:buClr>
                    <a:defRPr/>
                  </a:pPr>
                  <a:r>
                    <a:rPr lang="en-US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(in Years)</a:t>
                  </a:r>
                </a:p>
              </p:txBody>
            </p:sp>
            <p:sp>
              <p:nvSpPr>
                <p:cNvPr id="50" name="Rectangle 49"/>
                <p:cNvSpPr/>
                <p:nvPr/>
              </p:nvSpPr>
              <p:spPr>
                <a:xfrm>
                  <a:off x="6632057" y="1367322"/>
                  <a:ext cx="1582796" cy="442441"/>
                </a:xfrm>
                <a:prstGeom prst="rect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7F7F7F">
                        <a:lumMod val="50000"/>
                      </a:srgbClr>
                    </a:buClr>
                    <a:defRPr/>
                  </a:pPr>
                  <a:r>
                    <a:rPr lang="en-US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5 </a:t>
                  </a:r>
                  <a:r>
                    <a:rPr lang="mr-IN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–</a:t>
                  </a:r>
                  <a:r>
                    <a:rPr lang="en-US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 7</a:t>
                  </a:r>
                </a:p>
              </p:txBody>
            </p:sp>
            <p:sp>
              <p:nvSpPr>
                <p:cNvPr id="51" name="Rectangle 50"/>
                <p:cNvSpPr/>
                <p:nvPr/>
              </p:nvSpPr>
              <p:spPr>
                <a:xfrm>
                  <a:off x="6631870" y="1848008"/>
                  <a:ext cx="1582796" cy="442441"/>
                </a:xfrm>
                <a:prstGeom prst="rect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7F7F7F">
                        <a:lumMod val="50000"/>
                      </a:srgbClr>
                    </a:buClr>
                    <a:defRPr/>
                  </a:pPr>
                  <a:r>
                    <a:rPr lang="en-US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8 </a:t>
                  </a:r>
                  <a:r>
                    <a:rPr lang="mr-IN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–</a:t>
                  </a:r>
                  <a:r>
                    <a:rPr lang="en-US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 10</a:t>
                  </a:r>
                </a:p>
              </p:txBody>
            </p:sp>
            <p:sp>
              <p:nvSpPr>
                <p:cNvPr id="52" name="Rectangle 51"/>
                <p:cNvSpPr/>
                <p:nvPr/>
              </p:nvSpPr>
              <p:spPr>
                <a:xfrm>
                  <a:off x="6631870" y="2329596"/>
                  <a:ext cx="1582796" cy="442441"/>
                </a:xfrm>
                <a:prstGeom prst="rect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7F7F7F">
                        <a:lumMod val="50000"/>
                      </a:srgbClr>
                    </a:buClr>
                    <a:defRPr/>
                  </a:pPr>
                  <a:r>
                    <a:rPr lang="en-US" sz="1100" b="1" kern="0" dirty="0">
                      <a:solidFill>
                        <a:srgbClr val="FFFFFF"/>
                      </a:solidFill>
                      <a:cs typeface="Arial" pitchFamily="34" charset="0"/>
                    </a:rPr>
                    <a:t>11 - 25</a:t>
                  </a:r>
                </a:p>
              </p:txBody>
            </p:sp>
          </p:grpSp>
          <p:grpSp>
            <p:nvGrpSpPr>
              <p:cNvPr id="45" name="Group 44"/>
              <p:cNvGrpSpPr/>
              <p:nvPr/>
            </p:nvGrpSpPr>
            <p:grpSpPr>
              <a:xfrm>
                <a:off x="3129527" y="2688061"/>
                <a:ext cx="3245873" cy="1875936"/>
                <a:chOff x="1993803" y="873708"/>
                <a:chExt cx="1582895" cy="1875936"/>
              </a:xfrm>
            </p:grpSpPr>
            <p:sp>
              <p:nvSpPr>
                <p:cNvPr id="46" name="Rectangle 45"/>
                <p:cNvSpPr/>
                <p:nvPr/>
              </p:nvSpPr>
              <p:spPr>
                <a:xfrm>
                  <a:off x="1993902" y="873708"/>
                  <a:ext cx="1582796" cy="442441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100" b="1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Minimum Premium</a:t>
                  </a:r>
                </a:p>
                <a:p>
                  <a:pPr algn="ctr"/>
                  <a:r>
                    <a:rPr lang="en-US" sz="1100" b="1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Per Year (USD)</a:t>
                  </a:r>
                </a:p>
              </p:txBody>
            </p:sp>
            <p:sp>
              <p:nvSpPr>
                <p:cNvPr id="47" name="Rectangle 46"/>
                <p:cNvSpPr/>
                <p:nvPr/>
              </p:nvSpPr>
              <p:spPr>
                <a:xfrm>
                  <a:off x="1993803" y="2307203"/>
                  <a:ext cx="1582796" cy="442441"/>
                </a:xfrm>
                <a:prstGeom prst="rect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$2,400 ($200 per month)</a:t>
                  </a:r>
                  <a:endParaRPr lang="en-US" sz="11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48" name="Rectangle 47"/>
                <p:cNvSpPr/>
                <p:nvPr/>
              </p:nvSpPr>
              <p:spPr>
                <a:xfrm>
                  <a:off x="1993803" y="1835308"/>
                  <a:ext cx="1582796" cy="442441"/>
                </a:xfrm>
                <a:prstGeom prst="rect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GB" sz="11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$4,800 ($400 per month)</a:t>
                  </a:r>
                  <a:endParaRPr lang="en-US" sz="11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</p:grpSp>
        <p:sp>
          <p:nvSpPr>
            <p:cNvPr id="53" name="Rectangle 52"/>
            <p:cNvSpPr/>
            <p:nvPr/>
          </p:nvSpPr>
          <p:spPr>
            <a:xfrm>
              <a:off x="2243598" y="1304567"/>
              <a:ext cx="3245670" cy="442441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$7,200($600 per month)</a:t>
              </a:r>
              <a:endParaRPr lang="en-US" sz="11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1196183" y="3661377"/>
            <a:ext cx="2094721" cy="536829"/>
          </a:xfrm>
          <a:prstGeom prst="rect">
            <a:avLst/>
          </a:prstGeom>
          <a:noFill/>
          <a:ln w="12700" cmpd="sng">
            <a:solidFill>
              <a:srgbClr val="0090DA"/>
            </a:solidFill>
            <a:prstDash val="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rgbClr val="000000"/>
                </a:solidFill>
              </a:rPr>
              <a:t>11</a:t>
            </a:r>
            <a:r>
              <a:rPr lang="en-US" sz="1000" baseline="30000" dirty="0">
                <a:solidFill>
                  <a:srgbClr val="000000"/>
                </a:solidFill>
              </a:rPr>
              <a:t>th</a:t>
            </a:r>
            <a:r>
              <a:rPr lang="en-US" sz="1000" dirty="0">
                <a:solidFill>
                  <a:srgbClr val="000000"/>
                </a:solidFill>
              </a:rPr>
              <a:t> Year Onwards	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1F90D7-9B8F-42C0-B615-A219C4D085EA}"/>
              </a:ext>
            </a:extLst>
          </p:cNvPr>
          <p:cNvGrpSpPr/>
          <p:nvPr/>
        </p:nvGrpSpPr>
        <p:grpSpPr>
          <a:xfrm>
            <a:off x="3565399" y="3065933"/>
            <a:ext cx="2353606" cy="1130266"/>
            <a:chOff x="2608666" y="3065933"/>
            <a:chExt cx="2353606" cy="1130266"/>
          </a:xfrm>
        </p:grpSpPr>
        <p:sp>
          <p:nvSpPr>
            <p:cNvPr id="41" name="Rectangle 40"/>
            <p:cNvSpPr/>
            <p:nvPr/>
          </p:nvSpPr>
          <p:spPr>
            <a:xfrm>
              <a:off x="2848902" y="3065933"/>
              <a:ext cx="2113370" cy="536829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rgbClr val="000000"/>
                  </a:solidFill>
                </a:rPr>
                <a:t>12 Months IPP/Claw-back Period</a:t>
              </a:r>
            </a:p>
          </p:txBody>
        </p:sp>
        <p:sp>
          <p:nvSpPr>
            <p:cNvPr id="42" name="Pentagon 24"/>
            <p:cNvSpPr/>
            <p:nvPr/>
          </p:nvSpPr>
          <p:spPr>
            <a:xfrm>
              <a:off x="2608666" y="3233003"/>
              <a:ext cx="103333" cy="170813"/>
            </a:xfrm>
            <a:custGeom>
              <a:avLst/>
              <a:gdLst>
                <a:gd name="connsiteX0" fmla="*/ 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0 w 822960"/>
                <a:gd name="connsiteY5" fmla="*/ 0 h 822960"/>
                <a:gd name="connsiteX0" fmla="*/ 40640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406400 w 822960"/>
                <a:gd name="connsiteY5" fmla="*/ 0 h 822960"/>
                <a:gd name="connsiteX0" fmla="*/ 0 w 416560"/>
                <a:gd name="connsiteY0" fmla="*/ 0 h 822960"/>
                <a:gd name="connsiteX1" fmla="*/ 5080 w 416560"/>
                <a:gd name="connsiteY1" fmla="*/ 0 h 822960"/>
                <a:gd name="connsiteX2" fmla="*/ 416560 w 416560"/>
                <a:gd name="connsiteY2" fmla="*/ 411480 h 822960"/>
                <a:gd name="connsiteX3" fmla="*/ 5080 w 416560"/>
                <a:gd name="connsiteY3" fmla="*/ 822960 h 822960"/>
                <a:gd name="connsiteX4" fmla="*/ 0 w 416560"/>
                <a:gd name="connsiteY4" fmla="*/ 806027 h 822960"/>
                <a:gd name="connsiteX5" fmla="*/ 0 w 416560"/>
                <a:gd name="connsiteY5" fmla="*/ 0 h 82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6560" h="822960">
                  <a:moveTo>
                    <a:pt x="0" y="0"/>
                  </a:moveTo>
                  <a:lnTo>
                    <a:pt x="5080" y="0"/>
                  </a:lnTo>
                  <a:lnTo>
                    <a:pt x="416560" y="411480"/>
                  </a:lnTo>
                  <a:lnTo>
                    <a:pt x="5080" y="822960"/>
                  </a:lnTo>
                  <a:lnTo>
                    <a:pt x="0" y="806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2848902" y="3659370"/>
              <a:ext cx="2113370" cy="536829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>
                  <a:solidFill>
                    <a:srgbClr val="000000"/>
                  </a:solidFill>
                </a:rPr>
                <a:t>18</a:t>
              </a:r>
              <a:r>
                <a:rPr lang="en-US" sz="1000" baseline="30000" dirty="0">
                  <a:solidFill>
                    <a:srgbClr val="000000"/>
                  </a:solidFill>
                </a:rPr>
                <a:t>th</a:t>
              </a:r>
              <a:r>
                <a:rPr lang="en-US" sz="1000" dirty="0">
                  <a:solidFill>
                    <a:srgbClr val="000000"/>
                  </a:solidFill>
                </a:rPr>
                <a:t> Month IPP/Claw-back Period</a:t>
              </a:r>
            </a:p>
          </p:txBody>
        </p:sp>
        <p:sp>
          <p:nvSpPr>
            <p:cNvPr id="56" name="Pentagon 24"/>
            <p:cNvSpPr/>
            <p:nvPr/>
          </p:nvSpPr>
          <p:spPr>
            <a:xfrm>
              <a:off x="2617132" y="3826440"/>
              <a:ext cx="103333" cy="170813"/>
            </a:xfrm>
            <a:custGeom>
              <a:avLst/>
              <a:gdLst>
                <a:gd name="connsiteX0" fmla="*/ 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0 w 822960"/>
                <a:gd name="connsiteY5" fmla="*/ 0 h 822960"/>
                <a:gd name="connsiteX0" fmla="*/ 40640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406400 w 822960"/>
                <a:gd name="connsiteY5" fmla="*/ 0 h 822960"/>
                <a:gd name="connsiteX0" fmla="*/ 0 w 416560"/>
                <a:gd name="connsiteY0" fmla="*/ 0 h 822960"/>
                <a:gd name="connsiteX1" fmla="*/ 5080 w 416560"/>
                <a:gd name="connsiteY1" fmla="*/ 0 h 822960"/>
                <a:gd name="connsiteX2" fmla="*/ 416560 w 416560"/>
                <a:gd name="connsiteY2" fmla="*/ 411480 h 822960"/>
                <a:gd name="connsiteX3" fmla="*/ 5080 w 416560"/>
                <a:gd name="connsiteY3" fmla="*/ 822960 h 822960"/>
                <a:gd name="connsiteX4" fmla="*/ 0 w 416560"/>
                <a:gd name="connsiteY4" fmla="*/ 806027 h 822960"/>
                <a:gd name="connsiteX5" fmla="*/ 0 w 416560"/>
                <a:gd name="connsiteY5" fmla="*/ 0 h 82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6560" h="822960">
                  <a:moveTo>
                    <a:pt x="0" y="0"/>
                  </a:moveTo>
                  <a:lnTo>
                    <a:pt x="5080" y="0"/>
                  </a:lnTo>
                  <a:lnTo>
                    <a:pt x="416560" y="411480"/>
                  </a:lnTo>
                  <a:lnTo>
                    <a:pt x="5080" y="822960"/>
                  </a:lnTo>
                  <a:lnTo>
                    <a:pt x="0" y="806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787400" y="3975100"/>
            <a:ext cx="914400" cy="914400"/>
          </a:xfrm>
          <a:prstGeom prst="rect">
            <a:avLst/>
          </a:prstGeom>
          <a:noFill/>
        </p:spPr>
        <p:txBody>
          <a:bodyPr wrap="none" lIns="91440" tIns="0" rIns="91440" bIns="0" rtlCol="0">
            <a:noAutofit/>
          </a:bodyPr>
          <a:lstStyle/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345630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Built-in Free Benef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36" name="Group 35"/>
          <p:cNvGrpSpPr/>
          <p:nvPr/>
        </p:nvGrpSpPr>
        <p:grpSpPr>
          <a:xfrm>
            <a:off x="264848" y="1987534"/>
            <a:ext cx="1749099" cy="1640056"/>
            <a:chOff x="264848" y="1437247"/>
            <a:chExt cx="1749099" cy="1640056"/>
          </a:xfrm>
        </p:grpSpPr>
        <p:sp>
          <p:nvSpPr>
            <p:cNvPr id="11" name="Rectangle 10"/>
            <p:cNvSpPr/>
            <p:nvPr/>
          </p:nvSpPr>
          <p:spPr>
            <a:xfrm>
              <a:off x="264848" y="1437247"/>
              <a:ext cx="1544475" cy="1640056"/>
            </a:xfrm>
            <a:prstGeom prst="rect">
              <a:avLst/>
            </a:prstGeom>
            <a:noFill/>
            <a:ln>
              <a:solidFill>
                <a:schemeClr val="accent6">
                  <a:lumMod val="50000"/>
                </a:schemeClr>
              </a:solidFill>
              <a:prstDash val="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200" b="1" dirty="0">
                  <a:solidFill>
                    <a:schemeClr val="accent6"/>
                  </a:solidFill>
                </a:rPr>
                <a:t>Short Term Incapacity – Sickness</a:t>
              </a:r>
            </a:p>
            <a:p>
              <a:pPr lvl="0" algn="ctr"/>
              <a:r>
                <a:rPr lang="en-US" sz="1200" dirty="0">
                  <a:solidFill>
                    <a:schemeClr val="accent6"/>
                  </a:solidFill>
                </a:rPr>
                <a:t>Maximum Benefit Amount </a:t>
              </a:r>
            </a:p>
            <a:p>
              <a:pPr lvl="0" algn="ctr"/>
              <a:r>
                <a:rPr lang="en-US" sz="1200" dirty="0">
                  <a:solidFill>
                    <a:schemeClr val="accent6"/>
                  </a:solidFill>
                </a:rPr>
                <a:t>USD 1,000,000</a:t>
              </a:r>
            </a:p>
          </p:txBody>
        </p:sp>
        <p:sp>
          <p:nvSpPr>
            <p:cNvPr id="12" name="Pentagon 24"/>
            <p:cNvSpPr/>
            <p:nvPr/>
          </p:nvSpPr>
          <p:spPr>
            <a:xfrm>
              <a:off x="1875149" y="2069899"/>
              <a:ext cx="138798" cy="334275"/>
            </a:xfrm>
            <a:custGeom>
              <a:avLst/>
              <a:gdLst>
                <a:gd name="connsiteX0" fmla="*/ 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0 w 822960"/>
                <a:gd name="connsiteY5" fmla="*/ 0 h 822960"/>
                <a:gd name="connsiteX0" fmla="*/ 40640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406400 w 822960"/>
                <a:gd name="connsiteY5" fmla="*/ 0 h 822960"/>
                <a:gd name="connsiteX0" fmla="*/ 0 w 416560"/>
                <a:gd name="connsiteY0" fmla="*/ 0 h 822960"/>
                <a:gd name="connsiteX1" fmla="*/ 5080 w 416560"/>
                <a:gd name="connsiteY1" fmla="*/ 0 h 822960"/>
                <a:gd name="connsiteX2" fmla="*/ 416560 w 416560"/>
                <a:gd name="connsiteY2" fmla="*/ 411480 h 822960"/>
                <a:gd name="connsiteX3" fmla="*/ 5080 w 416560"/>
                <a:gd name="connsiteY3" fmla="*/ 822960 h 822960"/>
                <a:gd name="connsiteX4" fmla="*/ 0 w 416560"/>
                <a:gd name="connsiteY4" fmla="*/ 806027 h 822960"/>
                <a:gd name="connsiteX5" fmla="*/ 0 w 416560"/>
                <a:gd name="connsiteY5" fmla="*/ 0 h 82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6560" h="822960">
                  <a:moveTo>
                    <a:pt x="0" y="0"/>
                  </a:moveTo>
                  <a:lnTo>
                    <a:pt x="5080" y="0"/>
                  </a:lnTo>
                  <a:lnTo>
                    <a:pt x="416560" y="411480"/>
                  </a:lnTo>
                  <a:lnTo>
                    <a:pt x="5080" y="822960"/>
                  </a:lnTo>
                  <a:lnTo>
                    <a:pt x="0" y="806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67002" y="919040"/>
            <a:ext cx="6948752" cy="29747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latin typeface="Arial" pitchFamily="34" charset="0"/>
                <a:cs typeface="Arial" pitchFamily="34" charset="0"/>
              </a:rPr>
              <a:t>The customer is entitled for a Short Term Incapacity Benefit in case of incapacity due to sickness and accident benefit.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2079773" y="1646332"/>
            <a:ext cx="5391527" cy="2499268"/>
            <a:chOff x="2079773" y="1675269"/>
            <a:chExt cx="5391527" cy="2499268"/>
          </a:xfrm>
        </p:grpSpPr>
        <p:sp>
          <p:nvSpPr>
            <p:cNvPr id="14" name="Rectangle 13"/>
            <p:cNvSpPr/>
            <p:nvPr/>
          </p:nvSpPr>
          <p:spPr>
            <a:xfrm>
              <a:off x="2079773" y="1675269"/>
              <a:ext cx="1298424" cy="3026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Term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444025" y="1675269"/>
              <a:ext cx="2174607" cy="30265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Age 18 to 65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684459" y="1677416"/>
              <a:ext cx="1786839" cy="30265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Age 66 to 95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079773" y="2010676"/>
              <a:ext cx="1298428" cy="51801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Short Term Incapacity Benefit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444027" y="2010676"/>
              <a:ext cx="2174606" cy="51801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Incapacity due to Accident/Sickness	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079773" y="2559293"/>
              <a:ext cx="1298428" cy="51801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Waiting Period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444027" y="2559293"/>
              <a:ext cx="2174606" cy="51801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3 months</a:t>
              </a:r>
            </a:p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No waiting period for Incapacity due to Acciden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684459" y="2559293"/>
              <a:ext cx="1786841" cy="518010"/>
            </a:xfrm>
            <a:prstGeom prst="rect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6 months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079773" y="3107910"/>
              <a:ext cx="1298428" cy="51801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Benefit Period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444027" y="3107910"/>
              <a:ext cx="2174606" cy="51801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24 months </a:t>
              </a:r>
              <a:r>
                <a:rPr lang="mr-IN" sz="1100" dirty="0">
                  <a:solidFill>
                    <a:schemeClr val="tx1"/>
                  </a:solidFill>
                </a:rPr>
                <a:t>–</a:t>
              </a:r>
              <a:r>
                <a:rPr lang="en-US" sz="1100" dirty="0">
                  <a:solidFill>
                    <a:schemeClr val="tx1"/>
                  </a:solidFill>
                </a:rPr>
                <a:t> Incapacity due to Accident/Sickness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684459" y="3107910"/>
              <a:ext cx="1786841" cy="518010"/>
            </a:xfrm>
            <a:prstGeom prst="rect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12 months (Accident only)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684459" y="2010676"/>
              <a:ext cx="1786841" cy="518010"/>
            </a:xfrm>
            <a:prstGeom prst="rect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Incapacity due to Accident only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079773" y="3656527"/>
              <a:ext cx="1298428" cy="51801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Excess Period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444026" y="3656527"/>
              <a:ext cx="4027273" cy="51801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3 months </a:t>
              </a:r>
              <a:r>
                <a:rPr lang="mr-IN" sz="1100" dirty="0">
                  <a:solidFill>
                    <a:schemeClr val="tx1"/>
                  </a:solidFill>
                </a:rPr>
                <a:t>–</a:t>
              </a:r>
              <a:r>
                <a:rPr lang="en-US" sz="1100" dirty="0">
                  <a:solidFill>
                    <a:schemeClr val="tx1"/>
                  </a:solidFill>
                </a:rPr>
                <a:t> Incapacity due to Sickness or Accident</a:t>
              </a:r>
            </a:p>
          </p:txBody>
        </p:sp>
      </p:grpSp>
      <p:sp>
        <p:nvSpPr>
          <p:cNvPr id="40" name="Text Placeholder 1"/>
          <p:cNvSpPr txBox="1">
            <a:spLocks/>
          </p:cNvSpPr>
          <p:nvPr/>
        </p:nvSpPr>
        <p:spPr>
          <a:xfrm>
            <a:off x="267002" y="4205036"/>
            <a:ext cx="4051658" cy="318044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4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30969" indent="-126206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2419" indent="-17145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8625" indent="-1321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0785" indent="-1702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000" i="1" dirty="0"/>
              <a:t>Customer needs to inform MetLife of the change in residency status</a:t>
            </a:r>
          </a:p>
        </p:txBody>
      </p:sp>
    </p:spTree>
    <p:extLst>
      <p:ext uri="{BB962C8B-B14F-4D97-AF65-F5344CB8AC3E}">
        <p14:creationId xmlns:p14="http://schemas.microsoft.com/office/powerpoint/2010/main" val="12844719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Built-in Free Benef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7" name="Text Placeholder 1"/>
          <p:cNvSpPr txBox="1">
            <a:spLocks/>
          </p:cNvSpPr>
          <p:nvPr/>
        </p:nvSpPr>
        <p:spPr>
          <a:xfrm>
            <a:off x="267002" y="4205036"/>
            <a:ext cx="4051658" cy="318044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4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30969" indent="-126206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2419" indent="-17145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8625" indent="-1321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0785" indent="-1702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000" i="1" dirty="0"/>
              <a:t>Customer needs to inform MetLife of the change in residency status</a:t>
            </a:r>
          </a:p>
        </p:txBody>
      </p:sp>
      <p:sp>
        <p:nvSpPr>
          <p:cNvPr id="2" name="Rectangle 1"/>
          <p:cNvSpPr/>
          <p:nvPr/>
        </p:nvSpPr>
        <p:spPr>
          <a:xfrm>
            <a:off x="2253546" y="794101"/>
            <a:ext cx="5922266" cy="38010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en-US" sz="1600" b="1" dirty="0">
                <a:solidFill>
                  <a:srgbClr val="0070C0"/>
                </a:solidFill>
              </a:rPr>
              <a:t>Common Carrier - Accidental Death Benefit Conditions:</a:t>
            </a:r>
            <a:endParaRPr lang="en-US" sz="1200" b="1" dirty="0">
              <a:solidFill>
                <a:srgbClr val="0070C0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000" b="1" dirty="0"/>
              <a:t>The benefit is payable only upon receipt of due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en-US" sz="1000" b="1" dirty="0"/>
              <a:t>proof of the death of the Insured as a direct result and independently and exclusively of all other causes, of bodily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en-US" sz="1000" b="1" dirty="0"/>
              <a:t>injuries effected solely by external, violent and accidental means of which (except in the case of drowning, or of internal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en-US" sz="1000" b="1" dirty="0"/>
              <a:t>injury revealed by autopsy) there is evidence of visible contusion or wound on the exterior of the body and provided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en-US" sz="1000" b="1" dirty="0"/>
              <a:t>the accident occurring (a) while riding as a passenger in a regular Passenger Elevator Car(elevators in mines excluded),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en-US" sz="1000" b="1" dirty="0"/>
              <a:t>or (b) in consequence of the burning of any Theater, Hotel or other Public Building in which the Insured shall be at the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en-US" sz="1000" b="1" dirty="0"/>
              <a:t>commencement of the fire, or (c) while as a fare-paying passenger on any </a:t>
            </a:r>
            <a:r>
              <a:rPr lang="en-US" sz="1000" b="1" dirty="0" err="1"/>
              <a:t>bonafide</a:t>
            </a:r>
            <a:r>
              <a:rPr lang="en-US" sz="1000" b="1" dirty="0"/>
              <a:t> public conveyance licensed and</a:t>
            </a:r>
          </a:p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r>
              <a:rPr lang="en-US" sz="1000" b="1" dirty="0"/>
              <a:t>approved to carry passengers for hire.</a:t>
            </a:r>
          </a:p>
          <a:p>
            <a:pPr lvl="0">
              <a:spcBef>
                <a:spcPts val="600"/>
              </a:spcBef>
            </a:pPr>
            <a:endParaRPr lang="en-US" sz="1000" dirty="0"/>
          </a:p>
        </p:txBody>
      </p:sp>
      <p:grpSp>
        <p:nvGrpSpPr>
          <p:cNvPr id="7" name="Group 6"/>
          <p:cNvGrpSpPr/>
          <p:nvPr/>
        </p:nvGrpSpPr>
        <p:grpSpPr>
          <a:xfrm>
            <a:off x="267002" y="1228019"/>
            <a:ext cx="1916559" cy="2055581"/>
            <a:chOff x="147918" y="1743076"/>
            <a:chExt cx="1916559" cy="2055581"/>
          </a:xfrm>
        </p:grpSpPr>
        <p:sp>
          <p:nvSpPr>
            <p:cNvPr id="26" name="Rectangle 25"/>
            <p:cNvSpPr/>
            <p:nvPr/>
          </p:nvSpPr>
          <p:spPr>
            <a:xfrm>
              <a:off x="147918" y="1743076"/>
              <a:ext cx="1573306" cy="43177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Accidental Death in a Common Carrier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47918" y="2575975"/>
              <a:ext cx="1573306" cy="4317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100% of Account Value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147918" y="3366879"/>
              <a:ext cx="1573306" cy="43177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USD 250,000</a:t>
              </a:r>
            </a:p>
          </p:txBody>
        </p:sp>
        <p:sp>
          <p:nvSpPr>
            <p:cNvPr id="34" name="Pentagon 24"/>
            <p:cNvSpPr/>
            <p:nvPr/>
          </p:nvSpPr>
          <p:spPr>
            <a:xfrm>
              <a:off x="1925679" y="2647142"/>
              <a:ext cx="138798" cy="334275"/>
            </a:xfrm>
            <a:custGeom>
              <a:avLst/>
              <a:gdLst>
                <a:gd name="connsiteX0" fmla="*/ 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0 w 822960"/>
                <a:gd name="connsiteY5" fmla="*/ 0 h 822960"/>
                <a:gd name="connsiteX0" fmla="*/ 40640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406400 w 822960"/>
                <a:gd name="connsiteY5" fmla="*/ 0 h 822960"/>
                <a:gd name="connsiteX0" fmla="*/ 0 w 416560"/>
                <a:gd name="connsiteY0" fmla="*/ 0 h 822960"/>
                <a:gd name="connsiteX1" fmla="*/ 5080 w 416560"/>
                <a:gd name="connsiteY1" fmla="*/ 0 h 822960"/>
                <a:gd name="connsiteX2" fmla="*/ 416560 w 416560"/>
                <a:gd name="connsiteY2" fmla="*/ 411480 h 822960"/>
                <a:gd name="connsiteX3" fmla="*/ 5080 w 416560"/>
                <a:gd name="connsiteY3" fmla="*/ 822960 h 822960"/>
                <a:gd name="connsiteX4" fmla="*/ 0 w 416560"/>
                <a:gd name="connsiteY4" fmla="*/ 806027 h 822960"/>
                <a:gd name="connsiteX5" fmla="*/ 0 w 416560"/>
                <a:gd name="connsiteY5" fmla="*/ 0 h 82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6560" h="822960">
                  <a:moveTo>
                    <a:pt x="0" y="0"/>
                  </a:moveTo>
                  <a:lnTo>
                    <a:pt x="5080" y="0"/>
                  </a:lnTo>
                  <a:lnTo>
                    <a:pt x="416560" y="411480"/>
                  </a:lnTo>
                  <a:lnTo>
                    <a:pt x="5080" y="822960"/>
                  </a:lnTo>
                  <a:lnTo>
                    <a:pt x="0" y="806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3" name="Rectangle 2"/>
            <p:cNvSpPr/>
            <p:nvPr/>
          </p:nvSpPr>
          <p:spPr>
            <a:xfrm>
              <a:off x="743322" y="2991222"/>
              <a:ext cx="33374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>
                  <a:solidFill>
                    <a:srgbClr val="0070C0"/>
                  </a:solidFill>
                </a:rPr>
                <a:t>+</a:t>
              </a:r>
              <a:endParaRPr lang="en-US" sz="2000" dirty="0"/>
            </a:p>
          </p:txBody>
        </p:sp>
        <p:sp>
          <p:nvSpPr>
            <p:cNvPr id="38" name="Pentagon 24"/>
            <p:cNvSpPr/>
            <p:nvPr/>
          </p:nvSpPr>
          <p:spPr>
            <a:xfrm rot="5400000">
              <a:off x="838251" y="2257583"/>
              <a:ext cx="143889" cy="237853"/>
            </a:xfrm>
            <a:custGeom>
              <a:avLst/>
              <a:gdLst>
                <a:gd name="connsiteX0" fmla="*/ 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0 w 822960"/>
                <a:gd name="connsiteY5" fmla="*/ 0 h 822960"/>
                <a:gd name="connsiteX0" fmla="*/ 406400 w 822960"/>
                <a:gd name="connsiteY0" fmla="*/ 0 h 822960"/>
                <a:gd name="connsiteX1" fmla="*/ 411480 w 822960"/>
                <a:gd name="connsiteY1" fmla="*/ 0 h 822960"/>
                <a:gd name="connsiteX2" fmla="*/ 822960 w 822960"/>
                <a:gd name="connsiteY2" fmla="*/ 411480 h 822960"/>
                <a:gd name="connsiteX3" fmla="*/ 411480 w 822960"/>
                <a:gd name="connsiteY3" fmla="*/ 822960 h 822960"/>
                <a:gd name="connsiteX4" fmla="*/ 0 w 822960"/>
                <a:gd name="connsiteY4" fmla="*/ 822960 h 822960"/>
                <a:gd name="connsiteX5" fmla="*/ 406400 w 822960"/>
                <a:gd name="connsiteY5" fmla="*/ 0 h 822960"/>
                <a:gd name="connsiteX0" fmla="*/ 0 w 416560"/>
                <a:gd name="connsiteY0" fmla="*/ 0 h 822960"/>
                <a:gd name="connsiteX1" fmla="*/ 5080 w 416560"/>
                <a:gd name="connsiteY1" fmla="*/ 0 h 822960"/>
                <a:gd name="connsiteX2" fmla="*/ 416560 w 416560"/>
                <a:gd name="connsiteY2" fmla="*/ 411480 h 822960"/>
                <a:gd name="connsiteX3" fmla="*/ 5080 w 416560"/>
                <a:gd name="connsiteY3" fmla="*/ 822960 h 822960"/>
                <a:gd name="connsiteX4" fmla="*/ 0 w 416560"/>
                <a:gd name="connsiteY4" fmla="*/ 806027 h 822960"/>
                <a:gd name="connsiteX5" fmla="*/ 0 w 416560"/>
                <a:gd name="connsiteY5" fmla="*/ 0 h 82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6560" h="822960">
                  <a:moveTo>
                    <a:pt x="0" y="0"/>
                  </a:moveTo>
                  <a:lnTo>
                    <a:pt x="5080" y="0"/>
                  </a:lnTo>
                  <a:lnTo>
                    <a:pt x="416560" y="411480"/>
                  </a:lnTo>
                  <a:lnTo>
                    <a:pt x="5080" y="822960"/>
                  </a:lnTo>
                  <a:lnTo>
                    <a:pt x="0" y="806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26660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Built-in Free Benef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7" name="Text Placeholder 1"/>
          <p:cNvSpPr txBox="1">
            <a:spLocks/>
          </p:cNvSpPr>
          <p:nvPr/>
        </p:nvSpPr>
        <p:spPr>
          <a:xfrm>
            <a:off x="267002" y="4205036"/>
            <a:ext cx="4051658" cy="318044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40000"/>
              </a:lnSpc>
              <a:spcBef>
                <a:spcPts val="750"/>
              </a:spcBef>
              <a:buFont typeface="Arial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130969" indent="-126206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2419" indent="-17145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8625" indent="-1321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Arial"/>
              <a:buChar char="•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0785" indent="-170260" algn="l" defTabSz="685800" rtl="0" eaLnBrk="1" latinLnBrk="0" hangingPunct="1">
              <a:lnSpc>
                <a:spcPct val="140000"/>
              </a:lnSpc>
              <a:spcBef>
                <a:spcPts val="375"/>
              </a:spcBef>
              <a:buFont typeface=".AppleSystemUIFont" charset="-120"/>
              <a:buChar char="−"/>
              <a:tabLst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000" i="1" dirty="0"/>
              <a:t>Customer needs to inform MetLife of the change in residency status</a:t>
            </a:r>
          </a:p>
        </p:txBody>
      </p:sp>
      <p:sp>
        <p:nvSpPr>
          <p:cNvPr id="2" name="Rectangle 1"/>
          <p:cNvSpPr/>
          <p:nvPr/>
        </p:nvSpPr>
        <p:spPr>
          <a:xfrm>
            <a:off x="267002" y="647086"/>
            <a:ext cx="5922266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en-US" sz="1600" b="1" dirty="0">
                <a:solidFill>
                  <a:srgbClr val="0070C0"/>
                </a:solidFill>
              </a:rPr>
              <a:t>Medical Discount Card:</a:t>
            </a:r>
            <a:endParaRPr lang="en-US" sz="1200" b="1" dirty="0">
              <a:solidFill>
                <a:srgbClr val="0070C0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000" b="1" dirty="0"/>
              <a:t>The medical discount card offers up to 30% exclusive discounts at specific medical providers in the UAE, including dental and optical treatments.</a:t>
            </a:r>
          </a:p>
          <a:p>
            <a:pPr>
              <a:lnSpc>
                <a:spcPct val="150000"/>
              </a:lnSpc>
            </a:pPr>
            <a:endParaRPr lang="en-US" sz="1000" b="1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b="1" dirty="0"/>
              <a:t>The discount card will be offered free of charge to the customers.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000" b="1" dirty="0"/>
              <a:t>The discount card is applicable for UAE residents only.</a:t>
            </a:r>
          </a:p>
        </p:txBody>
      </p:sp>
    </p:spTree>
    <p:extLst>
      <p:ext uri="{BB962C8B-B14F-4D97-AF65-F5344CB8AC3E}">
        <p14:creationId xmlns:p14="http://schemas.microsoft.com/office/powerpoint/2010/main" val="248501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NrYl6ZEeMKxz6bagK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1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33</TotalTime>
  <Words>2359</Words>
  <Application>Microsoft Office PowerPoint</Application>
  <PresentationFormat>On-screen Show (16:9)</PresentationFormat>
  <Paragraphs>783</Paragraphs>
  <Slides>24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ＭＳ Ｐゴシック</vt:lpstr>
      <vt:lpstr>ＭＳ Ｐゴシック</vt:lpstr>
      <vt:lpstr>.AppleSystemUIFont</vt:lpstr>
      <vt:lpstr>Arial</vt:lpstr>
      <vt:lpstr>Arial Narrow</vt:lpstr>
      <vt:lpstr>Calibri</vt:lpstr>
      <vt:lpstr>Georgia</vt:lpstr>
      <vt:lpstr>Mangal</vt:lpstr>
      <vt:lpstr>Open Sans Bold</vt:lpstr>
      <vt:lpstr>Times New Roman</vt:lpstr>
      <vt:lpstr>Wingdings</vt:lpstr>
      <vt:lpstr>1_Default Theme</vt:lpstr>
      <vt:lpstr>Regular Savings Plan</vt:lpstr>
      <vt:lpstr>What is Regular Savings Plan</vt:lpstr>
      <vt:lpstr>Product Positioning</vt:lpstr>
      <vt:lpstr>Product Offerings</vt:lpstr>
      <vt:lpstr>Flexibility</vt:lpstr>
      <vt:lpstr>Flexible Premium Payment</vt:lpstr>
      <vt:lpstr>Built-in Free Benefit</vt:lpstr>
      <vt:lpstr>Built-in Free Benefit</vt:lpstr>
      <vt:lpstr>Built-in Free Benefit</vt:lpstr>
      <vt:lpstr>Optional Coverage</vt:lpstr>
      <vt:lpstr>Investment choices</vt:lpstr>
      <vt:lpstr>Maturity Options</vt:lpstr>
      <vt:lpstr>Annuity is not just for pensions</vt:lpstr>
      <vt:lpstr>Liquidity</vt:lpstr>
      <vt:lpstr>PowerPoint Presentation</vt:lpstr>
      <vt:lpstr>PowerPoint Presentation</vt:lpstr>
      <vt:lpstr>Char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heth, Viral</dc:creator>
  <cp:keywords/>
  <dc:description/>
  <cp:lastModifiedBy>Sheth, Viral</cp:lastModifiedBy>
  <cp:revision>305</cp:revision>
  <cp:lastPrinted>2016-11-22T17:29:32Z</cp:lastPrinted>
  <dcterms:created xsi:type="dcterms:W3CDTF">2016-10-12T07:45:17Z</dcterms:created>
  <dcterms:modified xsi:type="dcterms:W3CDTF">2019-03-25T08:46:25Z</dcterms:modified>
  <cp:category/>
</cp:coreProperties>
</file>